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4.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5.xml" ContentType="application/vnd.openxmlformats-officedocument.theme+xml"/>
  <Override PartName="/ppt/theme/themeOverride1.xml" ContentType="application/vnd.openxmlformats-officedocument.themeOverrid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69" r:id="rId5"/>
    <p:sldMasterId id="2147483694" r:id="rId6"/>
    <p:sldMasterId id="2147483735" r:id="rId7"/>
  </p:sldMasterIdLst>
  <p:notesMasterIdLst>
    <p:notesMasterId r:id="rId21"/>
  </p:notesMasterIdLst>
  <p:sldIdLst>
    <p:sldId id="2147377130" r:id="rId8"/>
    <p:sldId id="2145706651" r:id="rId9"/>
    <p:sldId id="1470" r:id="rId10"/>
    <p:sldId id="2147481079" r:id="rId11"/>
    <p:sldId id="2147474742" r:id="rId12"/>
    <p:sldId id="2147481080" r:id="rId13"/>
    <p:sldId id="2147478024" r:id="rId14"/>
    <p:sldId id="2147468530" r:id="rId15"/>
    <p:sldId id="2147472843" r:id="rId16"/>
    <p:sldId id="2147472787" r:id="rId17"/>
    <p:sldId id="2147472755" r:id="rId18"/>
    <p:sldId id="2147481082" r:id="rId19"/>
    <p:sldId id="2145706627" r:id="rId20"/>
  </p:sldIdLst>
  <p:sldSz cx="12192000" cy="6858000"/>
  <p:notesSz cx="6858000" cy="9144000"/>
  <p:defaultTextStyle>
    <a:defPPr>
      <a:defRPr lang="es-MX"/>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81CE8E9-F86D-4E47-8809-68B18FB62A0A}" v="1" dt="2023-06-30T18:22:34.56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60" d="100"/>
          <a:sy n="60" d="100"/>
        </p:scale>
        <p:origin x="96" y="2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microsoft.com/office/2016/11/relationships/changesInfo" Target="changesInfos/changesInfo1.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viewProps" Target="viewProps.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presProps" Target="presProps.xml"/><Relationship Id="rId27"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ARCIA, JULIETA ADRIANA" userId="297ada9e-3cf7-49aa-90c9-5bf2c5b7005d" providerId="ADAL" clId="{781CE8E9-F86D-4E47-8809-68B18FB62A0A}"/>
    <pc:docChg chg="addSld delSld modSld">
      <pc:chgData name="GARCIA, JULIETA ADRIANA" userId="297ada9e-3cf7-49aa-90c9-5bf2c5b7005d" providerId="ADAL" clId="{781CE8E9-F86D-4E47-8809-68B18FB62A0A}" dt="2023-06-30T18:22:34.557" v="1"/>
      <pc:docMkLst>
        <pc:docMk/>
      </pc:docMkLst>
      <pc:sldChg chg="add del">
        <pc:chgData name="GARCIA, JULIETA ADRIANA" userId="297ada9e-3cf7-49aa-90c9-5bf2c5b7005d" providerId="ADAL" clId="{781CE8E9-F86D-4E47-8809-68B18FB62A0A}" dt="2023-06-30T18:22:34.557" v="1"/>
        <pc:sldMkLst>
          <pc:docMk/>
          <pc:sldMk cId="213449836" sldId="2145706651"/>
        </pc:sldMkLst>
      </pc:sldChg>
    </pc:docChg>
  </pc:docChgLst>
</pc:chgInfo>
</file>

<file path=ppt/diagrams/_rels/data1.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svg"/><Relationship Id="rId1" Type="http://schemas.openxmlformats.org/officeDocument/2006/relationships/image" Target="../media/image54.png"/><Relationship Id="rId6" Type="http://schemas.openxmlformats.org/officeDocument/2006/relationships/image" Target="../media/image59.svg"/><Relationship Id="rId5" Type="http://schemas.openxmlformats.org/officeDocument/2006/relationships/image" Target="../media/image58.png"/><Relationship Id="rId4" Type="http://schemas.openxmlformats.org/officeDocument/2006/relationships/image" Target="../media/image57.svg"/></Relationships>
</file>

<file path=ppt/diagrams/_rels/data3.xml.rels><?xml version="1.0" encoding="UTF-8" standalone="yes"?>
<Relationships xmlns="http://schemas.openxmlformats.org/package/2006/relationships"><Relationship Id="rId8" Type="http://schemas.openxmlformats.org/officeDocument/2006/relationships/image" Target="../media/image79.svg"/><Relationship Id="rId3" Type="http://schemas.openxmlformats.org/officeDocument/2006/relationships/image" Target="../media/image74.png"/><Relationship Id="rId7" Type="http://schemas.openxmlformats.org/officeDocument/2006/relationships/image" Target="../media/image78.png"/><Relationship Id="rId2" Type="http://schemas.openxmlformats.org/officeDocument/2006/relationships/image" Target="../media/image73.svg"/><Relationship Id="rId1" Type="http://schemas.openxmlformats.org/officeDocument/2006/relationships/image" Target="../media/image72.png"/><Relationship Id="rId6" Type="http://schemas.openxmlformats.org/officeDocument/2006/relationships/image" Target="../media/image77.svg"/><Relationship Id="rId5" Type="http://schemas.openxmlformats.org/officeDocument/2006/relationships/image" Target="../media/image76.png"/><Relationship Id="rId4" Type="http://schemas.openxmlformats.org/officeDocument/2006/relationships/image" Target="../media/image75.svg"/></Relationships>
</file>

<file path=ppt/diagrams/_rels/data4.xml.rels><?xml version="1.0" encoding="UTF-8" standalone="yes"?>
<Relationships xmlns="http://schemas.openxmlformats.org/package/2006/relationships"><Relationship Id="rId8" Type="http://schemas.openxmlformats.org/officeDocument/2006/relationships/image" Target="../media/image87.svg"/><Relationship Id="rId3" Type="http://schemas.openxmlformats.org/officeDocument/2006/relationships/image" Target="../media/image82.png"/><Relationship Id="rId7" Type="http://schemas.openxmlformats.org/officeDocument/2006/relationships/image" Target="../media/image86.png"/><Relationship Id="rId2" Type="http://schemas.openxmlformats.org/officeDocument/2006/relationships/image" Target="../media/image81.svg"/><Relationship Id="rId1" Type="http://schemas.openxmlformats.org/officeDocument/2006/relationships/image" Target="../media/image80.png"/><Relationship Id="rId6" Type="http://schemas.openxmlformats.org/officeDocument/2006/relationships/image" Target="../media/image85.svg"/><Relationship Id="rId5" Type="http://schemas.openxmlformats.org/officeDocument/2006/relationships/image" Target="../media/image84.png"/><Relationship Id="rId4" Type="http://schemas.openxmlformats.org/officeDocument/2006/relationships/image" Target="../media/image83.svg"/></Relationships>
</file>

<file path=ppt/diagrams/_rels/drawing1.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svg"/><Relationship Id="rId1" Type="http://schemas.openxmlformats.org/officeDocument/2006/relationships/image" Target="../media/image54.png"/><Relationship Id="rId6" Type="http://schemas.openxmlformats.org/officeDocument/2006/relationships/image" Target="../media/image59.svg"/><Relationship Id="rId5" Type="http://schemas.openxmlformats.org/officeDocument/2006/relationships/image" Target="../media/image58.png"/><Relationship Id="rId4" Type="http://schemas.openxmlformats.org/officeDocument/2006/relationships/image" Target="../media/image57.svg"/></Relationships>
</file>

<file path=ppt/diagrams/_rels/drawing3.xml.rels><?xml version="1.0" encoding="UTF-8" standalone="yes"?>
<Relationships xmlns="http://schemas.openxmlformats.org/package/2006/relationships"><Relationship Id="rId8" Type="http://schemas.openxmlformats.org/officeDocument/2006/relationships/image" Target="../media/image79.svg"/><Relationship Id="rId3" Type="http://schemas.openxmlformats.org/officeDocument/2006/relationships/image" Target="../media/image74.png"/><Relationship Id="rId7" Type="http://schemas.openxmlformats.org/officeDocument/2006/relationships/image" Target="../media/image78.png"/><Relationship Id="rId2" Type="http://schemas.openxmlformats.org/officeDocument/2006/relationships/image" Target="../media/image73.svg"/><Relationship Id="rId1" Type="http://schemas.openxmlformats.org/officeDocument/2006/relationships/image" Target="../media/image72.png"/><Relationship Id="rId6" Type="http://schemas.openxmlformats.org/officeDocument/2006/relationships/image" Target="../media/image77.svg"/><Relationship Id="rId5" Type="http://schemas.openxmlformats.org/officeDocument/2006/relationships/image" Target="../media/image76.png"/><Relationship Id="rId4" Type="http://schemas.openxmlformats.org/officeDocument/2006/relationships/image" Target="../media/image75.svg"/></Relationships>
</file>

<file path=ppt/diagrams/_rels/drawing4.xml.rels><?xml version="1.0" encoding="UTF-8" standalone="yes"?>
<Relationships xmlns="http://schemas.openxmlformats.org/package/2006/relationships"><Relationship Id="rId8" Type="http://schemas.openxmlformats.org/officeDocument/2006/relationships/image" Target="../media/image87.svg"/><Relationship Id="rId3" Type="http://schemas.openxmlformats.org/officeDocument/2006/relationships/image" Target="../media/image82.png"/><Relationship Id="rId7" Type="http://schemas.openxmlformats.org/officeDocument/2006/relationships/image" Target="../media/image86.png"/><Relationship Id="rId2" Type="http://schemas.openxmlformats.org/officeDocument/2006/relationships/image" Target="../media/image81.svg"/><Relationship Id="rId1" Type="http://schemas.openxmlformats.org/officeDocument/2006/relationships/image" Target="../media/image80.png"/><Relationship Id="rId6" Type="http://schemas.openxmlformats.org/officeDocument/2006/relationships/image" Target="../media/image85.svg"/><Relationship Id="rId5" Type="http://schemas.openxmlformats.org/officeDocument/2006/relationships/image" Target="../media/image84.png"/><Relationship Id="rId4" Type="http://schemas.openxmlformats.org/officeDocument/2006/relationships/image" Target="../media/image83.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5_5">
  <dgm:title val=""/>
  <dgm:desc val=""/>
  <dgm:catLst>
    <dgm:cat type="accent5" pri="11500"/>
  </dgm:catLst>
  <dgm:styleLbl name="node0">
    <dgm:fillClrLst meth="cycle">
      <a:schemeClr val="accent5">
        <a:alpha val="80000"/>
      </a:schemeClr>
    </dgm:fillClrLst>
    <dgm:linClrLst meth="repeat">
      <a:schemeClr val="lt1"/>
    </dgm:linClrLst>
    <dgm:effectClrLst/>
    <dgm:txLinClrLst/>
    <dgm:txFillClrLst/>
    <dgm:txEffectClrLst/>
  </dgm:styleLbl>
  <dgm:styleLbl name="node1">
    <dgm:fillClrLst>
      <a:schemeClr val="accent5">
        <a:alpha val="90000"/>
      </a:schemeClr>
      <a:schemeClr val="accent5">
        <a:alpha val="50000"/>
      </a:schemeClr>
    </dgm:fillClrLst>
    <dgm:linClrLst meth="repeat">
      <a:schemeClr val="lt1"/>
    </dgm:linClrLst>
    <dgm:effectClrLst/>
    <dgm:txLinClrLst/>
    <dgm:txFillClrLst/>
    <dgm:txEffectClrLst/>
  </dgm:styleLbl>
  <dgm:styleLbl name="alignNode1">
    <dgm:fillClrLst>
      <a:schemeClr val="accent5">
        <a:alpha val="90000"/>
      </a:schemeClr>
      <a:schemeClr val="accent5">
        <a:alpha val="50000"/>
      </a:schemeClr>
    </dgm:fillClrLst>
    <dgm:linClrLst>
      <a:schemeClr val="accent5">
        <a:alpha val="90000"/>
      </a:schemeClr>
      <a:schemeClr val="accent5">
        <a:alpha val="50000"/>
      </a:schemeClr>
    </dgm:linClrLst>
    <dgm:effectClrLst/>
    <dgm:txLinClrLst/>
    <dgm:txFillClrLst/>
    <dgm:txEffectClrLst/>
  </dgm:styleLbl>
  <dgm:styleLbl name="lnNode1">
    <dgm:fillClrLst>
      <a:schemeClr val="accent5">
        <a:shade val="90000"/>
      </a:schemeClr>
      <a:schemeClr val="accent5">
        <a:alpha val="50000"/>
        <a:tint val="50000"/>
      </a:schemeClr>
    </dgm:fillClrLst>
    <dgm:linClrLst meth="repeat">
      <a:schemeClr val="lt1"/>
    </dgm:linClrLst>
    <dgm:effectClrLst/>
    <dgm:txLinClrLst/>
    <dgm:txFillClrLst/>
    <dgm:txEffectClrLst/>
  </dgm:styleLbl>
  <dgm:styleLbl name="vennNode1">
    <dgm:fillClrLst>
      <a:schemeClr val="accent5">
        <a:shade val="80000"/>
        <a:alpha val="50000"/>
      </a:schemeClr>
      <a:schemeClr val="accent5">
        <a:alpha val="20000"/>
      </a:schemeClr>
    </dgm:fillClrLst>
    <dgm:linClrLst meth="repeat">
      <a:schemeClr val="lt1"/>
    </dgm:linClrLst>
    <dgm:effectClrLst/>
    <dgm:txLinClrLst/>
    <dgm:txFillClrLst/>
    <dgm:txEffectClrLst/>
  </dgm:styleLbl>
  <dgm:styleLbl name="node2">
    <dgm:fillClrLst>
      <a:schemeClr val="accent5">
        <a:alpha val="70000"/>
      </a:schemeClr>
    </dgm:fillClrLst>
    <dgm:linClrLst meth="repeat">
      <a:schemeClr val="lt1"/>
    </dgm:linClrLst>
    <dgm:effectClrLst/>
    <dgm:txLinClrLst/>
    <dgm:txFillClrLst/>
    <dgm:txEffectClrLst/>
  </dgm:styleLbl>
  <dgm:styleLbl name="node3">
    <dgm:fillClrLst>
      <a:schemeClr val="accent5">
        <a:alpha val="50000"/>
      </a:schemeClr>
    </dgm:fillClrLst>
    <dgm:linClrLst meth="repeat">
      <a:schemeClr val="lt1"/>
    </dgm:linClrLst>
    <dgm:effectClrLst/>
    <dgm:txLinClrLst/>
    <dgm:txFillClrLst/>
    <dgm:txEffectClrLst/>
  </dgm:styleLbl>
  <dgm:styleLbl name="node4">
    <dgm:fillClrLst>
      <a:schemeClr val="accent5">
        <a:alpha val="30000"/>
      </a:schemeClr>
    </dgm:fillClrLst>
    <dgm:linClrLst meth="repeat">
      <a:schemeClr val="lt1"/>
    </dgm:linClrLst>
    <dgm:effectClrLst/>
    <dgm:txLinClrLst/>
    <dgm:txFillClrLst/>
    <dgm:txEffectClrLst/>
  </dgm:styleLbl>
  <dgm:styleLbl name="fgImgPlace1">
    <dgm:fillClrLst>
      <a:schemeClr val="accent5">
        <a:tint val="50000"/>
        <a:alpha val="90000"/>
      </a:schemeClr>
      <a:schemeClr val="accent5">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dgm:txEffectClrLst/>
  </dgm:styleLbl>
  <dgm:styleLbl name="fgSibTrans2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dgm:txEffectClrLst/>
  </dgm:styleLbl>
  <dgm:styleLbl name="bgSibTrans2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dgm:txEffectClrLst/>
  </dgm:styleLbl>
  <dgm:styleLbl name="sibTrans1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alpha val="90000"/>
      </a:schemeClr>
    </dgm:fillClrLst>
    <dgm:linClrLst meth="repeat">
      <a:schemeClr val="lt1"/>
    </dgm:linClrLst>
    <dgm:effectClrLst/>
    <dgm:txLinClrLst/>
    <dgm:txFillClrLst/>
    <dgm:txEffectClrLst/>
  </dgm:styleLbl>
  <dgm:styleLbl name="asst1">
    <dgm:fillClrLst meth="repeat">
      <a:schemeClr val="accent5">
        <a:alpha val="90000"/>
      </a:schemeClr>
    </dgm:fillClrLst>
    <dgm:linClrLst meth="repeat">
      <a:schemeClr val="lt1"/>
    </dgm:linClrLst>
    <dgm:effectClrLst/>
    <dgm:txLinClrLst/>
    <dgm:txFillClrLst/>
    <dgm:txEffectClrLst/>
  </dgm:styleLbl>
  <dgm:styleLbl name="asst2">
    <dgm:fillClrLst>
      <a:schemeClr val="accent5">
        <a:alpha val="90000"/>
      </a:schemeClr>
    </dgm:fillClrLst>
    <dgm:linClrLst meth="repeat">
      <a:schemeClr val="lt1"/>
    </dgm:linClrLst>
    <dgm:effectClrLst/>
    <dgm:txLinClrLst/>
    <dgm:txFillClrLst/>
    <dgm:txEffectClrLst/>
  </dgm:styleLbl>
  <dgm:styleLbl name="asst3">
    <dgm:fillClrLst>
      <a:schemeClr val="accent5">
        <a:alpha val="70000"/>
      </a:schemeClr>
    </dgm:fillClrLst>
    <dgm:linClrLst meth="repeat">
      <a:schemeClr val="lt1"/>
    </dgm:linClrLst>
    <dgm:effectClrLst/>
    <dgm:txLinClrLst/>
    <dgm:txFillClrLst/>
    <dgm:txEffectClrLst/>
  </dgm:styleLbl>
  <dgm:styleLbl name="asst4">
    <dgm:fillClrLst>
      <a:schemeClr val="accent5">
        <a:alpha val="50000"/>
      </a:schemeClr>
    </dgm:fillClrLst>
    <dgm:linClrLst meth="repeat">
      <a:schemeClr val="lt1"/>
    </dgm:linClrLst>
    <dgm:effectClrLst/>
    <dgm:txLinClrLst/>
    <dgm:txFillClrLst/>
    <dgm:txEffectClrLst/>
  </dgm:styleLbl>
  <dgm:styleLbl name="parChTrans2D1">
    <dgm:fillClrLst meth="repeat">
      <a:schemeClr val="accent5">
        <a:shade val="8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5">
        <a:alpha val="90000"/>
      </a:schemeClr>
      <a:schemeClr val="accent5">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a:schemeClr val="accent5">
        <a:alpha val="90000"/>
        <a:tint val="40000"/>
      </a:schemeClr>
      <a:schemeClr val="accent5">
        <a:alpha val="5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1BDE36E-85F5-4213-9A47-D0AD1CB91669}" type="doc">
      <dgm:prSet loTypeId="urn:microsoft.com/office/officeart/2005/8/layout/vList3" loCatId="list" qsTypeId="urn:microsoft.com/office/officeart/2005/8/quickstyle/simple1" qsCatId="simple" csTypeId="urn:microsoft.com/office/officeart/2005/8/colors/accent1_2" csCatId="accent1" phldr="1"/>
      <dgm:spPr/>
    </dgm:pt>
    <dgm:pt modelId="{30E4FFF1-6DA4-48A4-B472-5BFD0F50F36E}">
      <dgm:prSet phldrT="[Text]" custT="1"/>
      <dgm:spPr/>
      <dgm:t>
        <a:bodyPr/>
        <a:lstStyle/>
        <a:p>
          <a:r>
            <a:rPr lang="en-US" sz="1400" b="1"/>
            <a:t>26,000+ Resources</a:t>
          </a:r>
        </a:p>
      </dgm:t>
    </dgm:pt>
    <dgm:pt modelId="{DD33DB61-EA70-402F-8364-60A162528B9E}" type="parTrans" cxnId="{8F725F64-69E7-460F-9E89-92F801489828}">
      <dgm:prSet/>
      <dgm:spPr/>
      <dgm:t>
        <a:bodyPr/>
        <a:lstStyle/>
        <a:p>
          <a:endParaRPr lang="en-US"/>
        </a:p>
      </dgm:t>
    </dgm:pt>
    <dgm:pt modelId="{F4FB10D4-1BE2-48AD-9F8D-324FF51936BD}" type="sibTrans" cxnId="{8F725F64-69E7-460F-9E89-92F801489828}">
      <dgm:prSet/>
      <dgm:spPr/>
      <dgm:t>
        <a:bodyPr/>
        <a:lstStyle/>
        <a:p>
          <a:endParaRPr lang="en-US"/>
        </a:p>
      </dgm:t>
    </dgm:pt>
    <dgm:pt modelId="{95D9DC27-146D-4960-B7F8-AAC80D65FF8C}">
      <dgm:prSet phldrT="[Text]" custT="1"/>
      <dgm:spPr/>
      <dgm:t>
        <a:bodyPr/>
        <a:lstStyle/>
        <a:p>
          <a:pPr>
            <a:spcAft>
              <a:spcPts val="0"/>
            </a:spcAft>
            <a:buClrTx/>
            <a:buSzTx/>
            <a:buFontTx/>
            <a:buNone/>
          </a:pPr>
          <a:r>
            <a:rPr kumimoji="0" lang="en-IN" sz="1400" b="1" i="0" u="none" strike="noStrike" cap="all" spc="0" normalizeH="0" baseline="0" noProof="0">
              <a:ln/>
              <a:effectLst/>
              <a:uLnTx/>
              <a:uFillTx/>
              <a:latin typeface="Ubuntu"/>
              <a:ea typeface="+mn-ea"/>
              <a:cs typeface="+mn-cs"/>
            </a:rPr>
            <a:t>12/15 </a:t>
          </a:r>
          <a:br>
            <a:rPr kumimoji="0" lang="en-IN" sz="1400" b="1" i="0" u="none" strike="noStrike" cap="all" spc="0" normalizeH="0" baseline="0" noProof="0">
              <a:ln/>
              <a:effectLst/>
              <a:uLnTx/>
              <a:uFillTx/>
              <a:latin typeface="Ubuntu"/>
              <a:ea typeface="+mn-ea"/>
              <a:cs typeface="+mn-cs"/>
            </a:rPr>
          </a:br>
          <a:r>
            <a:rPr kumimoji="0" lang="en-IN" sz="1400" b="1" i="0" u="none" strike="noStrike" cap="all" spc="0" normalizeH="0" baseline="0" noProof="0">
              <a:ln/>
              <a:effectLst/>
              <a:uLnTx/>
              <a:uFillTx/>
              <a:latin typeface="Ubuntu"/>
              <a:ea typeface="+mn-ea"/>
              <a:cs typeface="+mn-cs"/>
            </a:rPr>
            <a:t>Top Global Insurer </a:t>
          </a:r>
        </a:p>
        <a:p>
          <a:pPr>
            <a:spcAft>
              <a:spcPts val="0"/>
            </a:spcAft>
            <a:buClrTx/>
            <a:buSzTx/>
            <a:buFontTx/>
            <a:buNone/>
          </a:pPr>
          <a:r>
            <a:rPr kumimoji="0" lang="en-IN" sz="1300" b="1" i="0" u="none" strike="noStrike" cap="all" spc="0" normalizeH="0" baseline="0" noProof="0">
              <a:ln/>
              <a:effectLst/>
              <a:uLnTx/>
              <a:uFillTx/>
              <a:latin typeface="Ubuntu"/>
              <a:ea typeface="+mn-ea"/>
              <a:cs typeface="+mn-cs"/>
            </a:rPr>
            <a:t>clients </a:t>
          </a:r>
          <a:endParaRPr lang="en-US" sz="1300"/>
        </a:p>
      </dgm:t>
    </dgm:pt>
    <dgm:pt modelId="{9FAD66CF-665B-460C-B5D5-F96CB6626437}" type="parTrans" cxnId="{9F8E0CEF-07D2-4D92-9AE5-B37FAC3158DB}">
      <dgm:prSet/>
      <dgm:spPr/>
      <dgm:t>
        <a:bodyPr/>
        <a:lstStyle/>
        <a:p>
          <a:endParaRPr lang="en-US"/>
        </a:p>
      </dgm:t>
    </dgm:pt>
    <dgm:pt modelId="{4D293D5D-DCED-4049-8CE1-496B0CAE19DA}" type="sibTrans" cxnId="{9F8E0CEF-07D2-4D92-9AE5-B37FAC3158DB}">
      <dgm:prSet/>
      <dgm:spPr/>
      <dgm:t>
        <a:bodyPr/>
        <a:lstStyle/>
        <a:p>
          <a:endParaRPr lang="en-US"/>
        </a:p>
      </dgm:t>
    </dgm:pt>
    <dgm:pt modelId="{7DF8EF2A-97CE-4879-85F8-C7C810F17AE7}">
      <dgm:prSet phldrT="[Text]" custT="1"/>
      <dgm:spPr/>
      <dgm:t>
        <a:bodyPr/>
        <a:lstStyle/>
        <a:p>
          <a:pPr>
            <a:buClrTx/>
            <a:buSzTx/>
            <a:buFontTx/>
            <a:buNone/>
          </a:pPr>
          <a:r>
            <a:rPr kumimoji="0" lang="en-IN" sz="1200" b="1" i="0" u="none" strike="noStrike" cap="all" spc="0" normalizeH="0" baseline="0" noProof="0">
              <a:ln/>
              <a:effectLst/>
              <a:uLnTx/>
              <a:uFillTx/>
              <a:latin typeface="Ubuntu"/>
              <a:ea typeface="+mn-ea"/>
              <a:cs typeface="+mn-cs"/>
            </a:rPr>
            <a:t>P&amp;C | Life &amp; Retirement | Health | Reinsurance</a:t>
          </a:r>
          <a:endParaRPr lang="en-US" sz="1200"/>
        </a:p>
      </dgm:t>
    </dgm:pt>
    <dgm:pt modelId="{3ACDFB2F-F786-4BAC-AA0F-460F483207B9}" type="parTrans" cxnId="{5D4D4FB7-3EEB-4392-BB1C-D9F406131A90}">
      <dgm:prSet/>
      <dgm:spPr/>
      <dgm:t>
        <a:bodyPr/>
        <a:lstStyle/>
        <a:p>
          <a:endParaRPr lang="en-US"/>
        </a:p>
      </dgm:t>
    </dgm:pt>
    <dgm:pt modelId="{348EAB78-4C60-4E1A-AE13-C4A264D75F49}" type="sibTrans" cxnId="{5D4D4FB7-3EEB-4392-BB1C-D9F406131A90}">
      <dgm:prSet/>
      <dgm:spPr/>
      <dgm:t>
        <a:bodyPr/>
        <a:lstStyle/>
        <a:p>
          <a:endParaRPr lang="en-US"/>
        </a:p>
      </dgm:t>
    </dgm:pt>
    <dgm:pt modelId="{7177CE3C-188F-48B8-A8FA-35DAA7576BC7}" type="pres">
      <dgm:prSet presAssocID="{51BDE36E-85F5-4213-9A47-D0AD1CB91669}" presName="linearFlow" presStyleCnt="0">
        <dgm:presLayoutVars>
          <dgm:dir/>
          <dgm:resizeHandles val="exact"/>
        </dgm:presLayoutVars>
      </dgm:prSet>
      <dgm:spPr/>
    </dgm:pt>
    <dgm:pt modelId="{1E4605FB-EEC4-40EB-B141-6ACDE6C9C42F}" type="pres">
      <dgm:prSet presAssocID="{30E4FFF1-6DA4-48A4-B472-5BFD0F50F36E}" presName="composite" presStyleCnt="0"/>
      <dgm:spPr/>
    </dgm:pt>
    <dgm:pt modelId="{4EEAFAA7-2134-4C30-AC88-D0227C4080A3}" type="pres">
      <dgm:prSet presAssocID="{30E4FFF1-6DA4-48A4-B472-5BFD0F50F36E}" presName="imgShp" presStyleLbl="fgImgPlac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Users"/>
        </a:ext>
      </dgm:extLst>
    </dgm:pt>
    <dgm:pt modelId="{5EC2AB34-28BF-47F4-B59E-9103703745FF}" type="pres">
      <dgm:prSet presAssocID="{30E4FFF1-6DA4-48A4-B472-5BFD0F50F36E}" presName="txShp" presStyleLbl="node1" presStyleIdx="0" presStyleCnt="3">
        <dgm:presLayoutVars>
          <dgm:bulletEnabled val="1"/>
        </dgm:presLayoutVars>
      </dgm:prSet>
      <dgm:spPr/>
    </dgm:pt>
    <dgm:pt modelId="{1C744487-AB33-454E-9AEC-88511D8E12E8}" type="pres">
      <dgm:prSet presAssocID="{F4FB10D4-1BE2-48AD-9F8D-324FF51936BD}" presName="spacing" presStyleCnt="0"/>
      <dgm:spPr/>
    </dgm:pt>
    <dgm:pt modelId="{A223CBB4-8EC0-400D-9E53-C6D36FCA0722}" type="pres">
      <dgm:prSet presAssocID="{95D9DC27-146D-4960-B7F8-AAC80D65FF8C}" presName="composite" presStyleCnt="0"/>
      <dgm:spPr/>
    </dgm:pt>
    <dgm:pt modelId="{78D402F5-5E2A-49AE-848D-A105AA89BC02}" type="pres">
      <dgm:prSet presAssocID="{95D9DC27-146D-4960-B7F8-AAC80D65FF8C}" presName="imgShp" presStyleLbl="fgImgPlac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Earth Globe Americas"/>
        </a:ext>
      </dgm:extLst>
    </dgm:pt>
    <dgm:pt modelId="{48F00698-C91B-41C4-BE72-3BE965C800D4}" type="pres">
      <dgm:prSet presAssocID="{95D9DC27-146D-4960-B7F8-AAC80D65FF8C}" presName="txShp" presStyleLbl="node1" presStyleIdx="1" presStyleCnt="3">
        <dgm:presLayoutVars>
          <dgm:bulletEnabled val="1"/>
        </dgm:presLayoutVars>
      </dgm:prSet>
      <dgm:spPr/>
    </dgm:pt>
    <dgm:pt modelId="{245AF572-3812-441E-9E5E-E320FAAE9970}" type="pres">
      <dgm:prSet presAssocID="{4D293D5D-DCED-4049-8CE1-496B0CAE19DA}" presName="spacing" presStyleCnt="0"/>
      <dgm:spPr/>
    </dgm:pt>
    <dgm:pt modelId="{2A753344-D258-4583-A453-A202C50D1D01}" type="pres">
      <dgm:prSet presAssocID="{7DF8EF2A-97CE-4879-85F8-C7C810F17AE7}" presName="composite" presStyleCnt="0"/>
      <dgm:spPr/>
    </dgm:pt>
    <dgm:pt modelId="{9576BD9F-D3D7-44F0-80D3-6926A81A76E3}" type="pres">
      <dgm:prSet presAssocID="{7DF8EF2A-97CE-4879-85F8-C7C810F17AE7}" presName="imgShp" presStyleLbl="fgImgPlac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dgm:spPr>
      <dgm:extLst>
        <a:ext uri="{E40237B7-FDA0-4F09-8148-C483321AD2D9}">
          <dgm14:cNvPr xmlns:dgm14="http://schemas.microsoft.com/office/drawing/2010/diagram" id="0" name="" descr="Umbrella"/>
        </a:ext>
      </dgm:extLst>
    </dgm:pt>
    <dgm:pt modelId="{BB11F0A8-04AB-4961-B58C-66AA04CF2080}" type="pres">
      <dgm:prSet presAssocID="{7DF8EF2A-97CE-4879-85F8-C7C810F17AE7}" presName="txShp" presStyleLbl="node1" presStyleIdx="2" presStyleCnt="3" custLinFactNeighborX="-1512">
        <dgm:presLayoutVars>
          <dgm:bulletEnabled val="1"/>
        </dgm:presLayoutVars>
      </dgm:prSet>
      <dgm:spPr/>
    </dgm:pt>
  </dgm:ptLst>
  <dgm:cxnLst>
    <dgm:cxn modelId="{8F725F64-69E7-460F-9E89-92F801489828}" srcId="{51BDE36E-85F5-4213-9A47-D0AD1CB91669}" destId="{30E4FFF1-6DA4-48A4-B472-5BFD0F50F36E}" srcOrd="0" destOrd="0" parTransId="{DD33DB61-EA70-402F-8364-60A162528B9E}" sibTransId="{F4FB10D4-1BE2-48AD-9F8D-324FF51936BD}"/>
    <dgm:cxn modelId="{8AA5C895-C439-4367-9F38-B618903F2E24}" type="presOf" srcId="{7DF8EF2A-97CE-4879-85F8-C7C810F17AE7}" destId="{BB11F0A8-04AB-4961-B58C-66AA04CF2080}" srcOrd="0" destOrd="0" presId="urn:microsoft.com/office/officeart/2005/8/layout/vList3"/>
    <dgm:cxn modelId="{5D4D4FB7-3EEB-4392-BB1C-D9F406131A90}" srcId="{51BDE36E-85F5-4213-9A47-D0AD1CB91669}" destId="{7DF8EF2A-97CE-4879-85F8-C7C810F17AE7}" srcOrd="2" destOrd="0" parTransId="{3ACDFB2F-F786-4BAC-AA0F-460F483207B9}" sibTransId="{348EAB78-4C60-4E1A-AE13-C4A264D75F49}"/>
    <dgm:cxn modelId="{94C723C5-B965-4ADB-8AD2-CCAA35AFDFBC}" type="presOf" srcId="{95D9DC27-146D-4960-B7F8-AAC80D65FF8C}" destId="{48F00698-C91B-41C4-BE72-3BE965C800D4}" srcOrd="0" destOrd="0" presId="urn:microsoft.com/office/officeart/2005/8/layout/vList3"/>
    <dgm:cxn modelId="{D91128DC-D793-40DC-8198-3A1A30C635FE}" type="presOf" srcId="{51BDE36E-85F5-4213-9A47-D0AD1CB91669}" destId="{7177CE3C-188F-48B8-A8FA-35DAA7576BC7}" srcOrd="0" destOrd="0" presId="urn:microsoft.com/office/officeart/2005/8/layout/vList3"/>
    <dgm:cxn modelId="{652102DF-0E59-4CD4-8BD4-CCAA4DD4F91F}" type="presOf" srcId="{30E4FFF1-6DA4-48A4-B472-5BFD0F50F36E}" destId="{5EC2AB34-28BF-47F4-B59E-9103703745FF}" srcOrd="0" destOrd="0" presId="urn:microsoft.com/office/officeart/2005/8/layout/vList3"/>
    <dgm:cxn modelId="{9F8E0CEF-07D2-4D92-9AE5-B37FAC3158DB}" srcId="{51BDE36E-85F5-4213-9A47-D0AD1CB91669}" destId="{95D9DC27-146D-4960-B7F8-AAC80D65FF8C}" srcOrd="1" destOrd="0" parTransId="{9FAD66CF-665B-460C-B5D5-F96CB6626437}" sibTransId="{4D293D5D-DCED-4049-8CE1-496B0CAE19DA}"/>
    <dgm:cxn modelId="{EAAF8BD6-802D-4259-A1CB-A85FB80A9661}" type="presParOf" srcId="{7177CE3C-188F-48B8-A8FA-35DAA7576BC7}" destId="{1E4605FB-EEC4-40EB-B141-6ACDE6C9C42F}" srcOrd="0" destOrd="0" presId="urn:microsoft.com/office/officeart/2005/8/layout/vList3"/>
    <dgm:cxn modelId="{94D8F30D-6620-41E8-B0B1-D9281981B6B7}" type="presParOf" srcId="{1E4605FB-EEC4-40EB-B141-6ACDE6C9C42F}" destId="{4EEAFAA7-2134-4C30-AC88-D0227C4080A3}" srcOrd="0" destOrd="0" presId="urn:microsoft.com/office/officeart/2005/8/layout/vList3"/>
    <dgm:cxn modelId="{961F22CD-CEC9-453C-9D0B-CD10DDD22961}" type="presParOf" srcId="{1E4605FB-EEC4-40EB-B141-6ACDE6C9C42F}" destId="{5EC2AB34-28BF-47F4-B59E-9103703745FF}" srcOrd="1" destOrd="0" presId="urn:microsoft.com/office/officeart/2005/8/layout/vList3"/>
    <dgm:cxn modelId="{174B20AE-F361-4A75-9D40-08A649438E9E}" type="presParOf" srcId="{7177CE3C-188F-48B8-A8FA-35DAA7576BC7}" destId="{1C744487-AB33-454E-9AEC-88511D8E12E8}" srcOrd="1" destOrd="0" presId="urn:microsoft.com/office/officeart/2005/8/layout/vList3"/>
    <dgm:cxn modelId="{767FF081-50C8-450C-8693-2AC39A30C055}" type="presParOf" srcId="{7177CE3C-188F-48B8-A8FA-35DAA7576BC7}" destId="{A223CBB4-8EC0-400D-9E53-C6D36FCA0722}" srcOrd="2" destOrd="0" presId="urn:microsoft.com/office/officeart/2005/8/layout/vList3"/>
    <dgm:cxn modelId="{412DD449-B7D0-4AA9-A2CC-E288C097E09C}" type="presParOf" srcId="{A223CBB4-8EC0-400D-9E53-C6D36FCA0722}" destId="{78D402F5-5E2A-49AE-848D-A105AA89BC02}" srcOrd="0" destOrd="0" presId="urn:microsoft.com/office/officeart/2005/8/layout/vList3"/>
    <dgm:cxn modelId="{9C838568-A98A-4D41-8E82-9922CAF36A8C}" type="presParOf" srcId="{A223CBB4-8EC0-400D-9E53-C6D36FCA0722}" destId="{48F00698-C91B-41C4-BE72-3BE965C800D4}" srcOrd="1" destOrd="0" presId="urn:microsoft.com/office/officeart/2005/8/layout/vList3"/>
    <dgm:cxn modelId="{BFFD0702-B0FF-47D1-B93E-728EBCADA681}" type="presParOf" srcId="{7177CE3C-188F-48B8-A8FA-35DAA7576BC7}" destId="{245AF572-3812-441E-9E5E-E320FAAE9970}" srcOrd="3" destOrd="0" presId="urn:microsoft.com/office/officeart/2005/8/layout/vList3"/>
    <dgm:cxn modelId="{8D345C16-D149-4CEE-A0A4-644E91307CF5}" type="presParOf" srcId="{7177CE3C-188F-48B8-A8FA-35DAA7576BC7}" destId="{2A753344-D258-4583-A453-A202C50D1D01}" srcOrd="4" destOrd="0" presId="urn:microsoft.com/office/officeart/2005/8/layout/vList3"/>
    <dgm:cxn modelId="{D429C3F3-B2D6-4686-B417-4682D5DEAA8A}" type="presParOf" srcId="{2A753344-D258-4583-A453-A202C50D1D01}" destId="{9576BD9F-D3D7-44F0-80D3-6926A81A76E3}" srcOrd="0" destOrd="0" presId="urn:microsoft.com/office/officeart/2005/8/layout/vList3"/>
    <dgm:cxn modelId="{17602F22-B19F-4AF7-8A01-39919494C737}" type="presParOf" srcId="{2A753344-D258-4583-A453-A202C50D1D01}" destId="{BB11F0A8-04AB-4961-B58C-66AA04CF2080}" srcOrd="1" destOrd="0" presId="urn:microsoft.com/office/officeart/2005/8/layout/vLis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B0C2F4C-876E-4E58-9FFE-9D0EE24AE394}" type="doc">
      <dgm:prSet loTypeId="urn:microsoft.com/office/officeart/2008/layout/PictureStrips" loCatId="list" qsTypeId="urn:microsoft.com/office/officeart/2005/8/quickstyle/simple1" qsCatId="simple" csTypeId="urn:microsoft.com/office/officeart/2005/8/colors/accent1_2" csCatId="accent1" phldr="1"/>
      <dgm:spPr/>
      <dgm:t>
        <a:bodyPr/>
        <a:lstStyle/>
        <a:p>
          <a:endParaRPr lang="en-US"/>
        </a:p>
      </dgm:t>
    </dgm:pt>
    <dgm:pt modelId="{49EFC439-78A4-4879-B434-8633F4ED861A}" type="pres">
      <dgm:prSet presAssocID="{AB0C2F4C-876E-4E58-9FFE-9D0EE24AE394}" presName="Name0" presStyleCnt="0">
        <dgm:presLayoutVars>
          <dgm:dir/>
          <dgm:resizeHandles val="exact"/>
        </dgm:presLayoutVars>
      </dgm:prSet>
      <dgm:spPr/>
    </dgm:pt>
  </dgm:ptLst>
  <dgm:cxnLst>
    <dgm:cxn modelId="{A7243745-3EA6-448D-B0E9-01A96E3B8757}" type="presOf" srcId="{AB0C2F4C-876E-4E58-9FFE-9D0EE24AE394}" destId="{49EFC439-78A4-4879-B434-8633F4ED861A}" srcOrd="0" destOrd="0" presId="urn:microsoft.com/office/officeart/2008/layout/PictureStrips"/>
  </dgm:cxnLst>
  <dgm:bg/>
  <dgm:whole/>
  <dgm:extLst>
    <a:ext uri="http://schemas.microsoft.com/office/drawing/2008/diagram">
      <dsp:dataModelExt xmlns:dsp="http://schemas.microsoft.com/office/drawing/2008/diagram" relId="rId24"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A6DD994-EA21-4A80-B6C8-DF5239D868E0}" type="doc">
      <dgm:prSet loTypeId="urn:microsoft.com/office/officeart/2005/8/layout/vList4" loCatId="list" qsTypeId="urn:microsoft.com/office/officeart/2005/8/quickstyle/simple1" qsCatId="simple" csTypeId="urn:microsoft.com/office/officeart/2005/8/colors/accent5_5" csCatId="accent5" phldr="1"/>
      <dgm:spPr/>
      <dgm:t>
        <a:bodyPr/>
        <a:lstStyle/>
        <a:p>
          <a:endParaRPr lang="en-US"/>
        </a:p>
      </dgm:t>
    </dgm:pt>
    <dgm:pt modelId="{6E97301B-5E11-4624-908A-78D1613FD7E4}">
      <dgm:prSet phldrT="[Text]" custT="1"/>
      <dgm:spPr/>
      <dgm:t>
        <a:bodyPr/>
        <a:lstStyle/>
        <a:p>
          <a:r>
            <a:rPr lang="en-US" sz="1400"/>
            <a:t>Product &amp; Service Innovation</a:t>
          </a:r>
        </a:p>
      </dgm:t>
    </dgm:pt>
    <dgm:pt modelId="{1A360563-73D7-43AA-BC6F-A876B195FB8D}" type="parTrans" cxnId="{E6B5C804-7E1E-48E4-92BB-D8B7DB2A9F1E}">
      <dgm:prSet/>
      <dgm:spPr/>
      <dgm:t>
        <a:bodyPr/>
        <a:lstStyle/>
        <a:p>
          <a:endParaRPr lang="en-US"/>
        </a:p>
      </dgm:t>
    </dgm:pt>
    <dgm:pt modelId="{21B5A5F0-BB4F-4BAD-AC93-1D537FCCEBDA}" type="sibTrans" cxnId="{E6B5C804-7E1E-48E4-92BB-D8B7DB2A9F1E}">
      <dgm:prSet/>
      <dgm:spPr/>
      <dgm:t>
        <a:bodyPr/>
        <a:lstStyle/>
        <a:p>
          <a:endParaRPr lang="en-US"/>
        </a:p>
      </dgm:t>
    </dgm:pt>
    <dgm:pt modelId="{5E3898A2-0059-4EB7-A8BF-BB6CA8421AB8}">
      <dgm:prSet phldrT="[Text]" custT="1"/>
      <dgm:spPr/>
      <dgm:t>
        <a:bodyPr/>
        <a:lstStyle/>
        <a:p>
          <a:r>
            <a:rPr lang="en-US" sz="1400"/>
            <a:t>Digital Business Operations</a:t>
          </a:r>
        </a:p>
      </dgm:t>
    </dgm:pt>
    <dgm:pt modelId="{E9F75FEE-212C-49B1-99C9-2B0F06674047}" type="parTrans" cxnId="{7E559F44-C482-43B8-8738-7E85BC72268D}">
      <dgm:prSet/>
      <dgm:spPr/>
      <dgm:t>
        <a:bodyPr/>
        <a:lstStyle/>
        <a:p>
          <a:endParaRPr lang="en-US"/>
        </a:p>
      </dgm:t>
    </dgm:pt>
    <dgm:pt modelId="{BD8BC8EF-AC84-4462-90C1-F7EF9D9964FC}" type="sibTrans" cxnId="{7E559F44-C482-43B8-8738-7E85BC72268D}">
      <dgm:prSet/>
      <dgm:spPr/>
      <dgm:t>
        <a:bodyPr/>
        <a:lstStyle/>
        <a:p>
          <a:endParaRPr lang="en-US"/>
        </a:p>
      </dgm:t>
    </dgm:pt>
    <dgm:pt modelId="{C4E38B9C-6C51-4F3F-84AB-966D4B66E122}">
      <dgm:prSet phldrT="[Text]" custT="1"/>
      <dgm:spPr/>
      <dgm:t>
        <a:bodyPr/>
        <a:lstStyle/>
        <a:p>
          <a:r>
            <a:rPr lang="en-US" sz="1400"/>
            <a:t>Application Management</a:t>
          </a:r>
        </a:p>
      </dgm:t>
    </dgm:pt>
    <dgm:pt modelId="{F1A0BA9C-2CDD-4465-BED0-12B7ECA9F2BD}" type="parTrans" cxnId="{B0290699-9C57-4DDB-8F5C-89B4F64C437A}">
      <dgm:prSet/>
      <dgm:spPr/>
      <dgm:t>
        <a:bodyPr/>
        <a:lstStyle/>
        <a:p>
          <a:endParaRPr lang="en-US"/>
        </a:p>
      </dgm:t>
    </dgm:pt>
    <dgm:pt modelId="{22FB009B-D958-4700-8715-B01681BFB4FF}" type="sibTrans" cxnId="{B0290699-9C57-4DDB-8F5C-89B4F64C437A}">
      <dgm:prSet/>
      <dgm:spPr/>
      <dgm:t>
        <a:bodyPr/>
        <a:lstStyle/>
        <a:p>
          <a:endParaRPr lang="en-US"/>
        </a:p>
      </dgm:t>
    </dgm:pt>
    <dgm:pt modelId="{C0E9A807-F9CD-495C-9080-4B62B3FF2FD0}">
      <dgm:prSet custT="1"/>
      <dgm:spPr/>
      <dgm:t>
        <a:bodyPr/>
        <a:lstStyle/>
        <a:p>
          <a:r>
            <a:rPr lang="en-US" sz="1400"/>
            <a:t>Core Transformation</a:t>
          </a:r>
        </a:p>
      </dgm:t>
    </dgm:pt>
    <dgm:pt modelId="{794A15F2-4827-4E8B-BCC7-B0CC264D742C}" type="parTrans" cxnId="{8D19E3C8-F865-4439-8546-96FBECF9BDCF}">
      <dgm:prSet/>
      <dgm:spPr/>
      <dgm:t>
        <a:bodyPr/>
        <a:lstStyle/>
        <a:p>
          <a:endParaRPr lang="en-US"/>
        </a:p>
      </dgm:t>
    </dgm:pt>
    <dgm:pt modelId="{6AD88DC8-C982-4086-AABD-01CA9C6E0A46}" type="sibTrans" cxnId="{8D19E3C8-F865-4439-8546-96FBECF9BDCF}">
      <dgm:prSet/>
      <dgm:spPr/>
      <dgm:t>
        <a:bodyPr/>
        <a:lstStyle/>
        <a:p>
          <a:endParaRPr lang="en-US"/>
        </a:p>
      </dgm:t>
    </dgm:pt>
    <dgm:pt modelId="{8BC5F17A-66EB-4209-962E-D8DD8D16AF54}" type="pres">
      <dgm:prSet presAssocID="{BA6DD994-EA21-4A80-B6C8-DF5239D868E0}" presName="linear" presStyleCnt="0">
        <dgm:presLayoutVars>
          <dgm:dir/>
          <dgm:resizeHandles val="exact"/>
        </dgm:presLayoutVars>
      </dgm:prSet>
      <dgm:spPr/>
    </dgm:pt>
    <dgm:pt modelId="{9C9D3D50-98FB-4C16-A9DE-7F8B0029CDAC}" type="pres">
      <dgm:prSet presAssocID="{6E97301B-5E11-4624-908A-78D1613FD7E4}" presName="comp" presStyleCnt="0"/>
      <dgm:spPr/>
    </dgm:pt>
    <dgm:pt modelId="{D4A08524-AB8D-4067-9F98-3310FCBA2F3E}" type="pres">
      <dgm:prSet presAssocID="{6E97301B-5E11-4624-908A-78D1613FD7E4}" presName="box" presStyleLbl="node1" presStyleIdx="0" presStyleCnt="4"/>
      <dgm:spPr>
        <a:prstGeom prst="rect">
          <a:avLst/>
        </a:prstGeom>
      </dgm:spPr>
    </dgm:pt>
    <dgm:pt modelId="{C816C822-50CB-4BD9-9608-227E8DF50EB9}" type="pres">
      <dgm:prSet presAssocID="{6E97301B-5E11-4624-908A-78D1613FD7E4}" presName="img" presStyleLbl="fgImgPlace1" presStyleIdx="0" presStyleCnt="4" custScaleX="63665" custScaleY="113702"/>
      <dgm:spPr>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a:noFill/>
        </a:ln>
      </dgm:spPr>
      <dgm:extLst>
        <a:ext uri="{E40237B7-FDA0-4F09-8148-C483321AD2D9}">
          <dgm14:cNvPr xmlns:dgm14="http://schemas.microsoft.com/office/drawing/2010/diagram" id="0" name="" descr="Puzzle pieces with solid fill"/>
        </a:ext>
      </dgm:extLst>
    </dgm:pt>
    <dgm:pt modelId="{9A719401-3C64-4996-AD0B-007CFD38F621}" type="pres">
      <dgm:prSet presAssocID="{6E97301B-5E11-4624-908A-78D1613FD7E4}" presName="text" presStyleLbl="node1" presStyleIdx="0" presStyleCnt="4">
        <dgm:presLayoutVars>
          <dgm:bulletEnabled val="1"/>
        </dgm:presLayoutVars>
      </dgm:prSet>
      <dgm:spPr/>
    </dgm:pt>
    <dgm:pt modelId="{5C21D761-3687-4BF3-A2AD-5A2BE59A64BF}" type="pres">
      <dgm:prSet presAssocID="{21B5A5F0-BB4F-4BAD-AC93-1D537FCCEBDA}" presName="spacer" presStyleCnt="0"/>
      <dgm:spPr/>
    </dgm:pt>
    <dgm:pt modelId="{9B674F69-6A9D-4359-ACDF-8142E19AC7D9}" type="pres">
      <dgm:prSet presAssocID="{5E3898A2-0059-4EB7-A8BF-BB6CA8421AB8}" presName="comp" presStyleCnt="0"/>
      <dgm:spPr/>
    </dgm:pt>
    <dgm:pt modelId="{EF9478EC-EFD7-4A3B-9595-CEBB89E92EC4}" type="pres">
      <dgm:prSet presAssocID="{5E3898A2-0059-4EB7-A8BF-BB6CA8421AB8}" presName="box" presStyleLbl="node1" presStyleIdx="1" presStyleCnt="4"/>
      <dgm:spPr>
        <a:prstGeom prst="rect">
          <a:avLst/>
        </a:prstGeom>
      </dgm:spPr>
    </dgm:pt>
    <dgm:pt modelId="{DA2598B4-1A36-41E4-9BBC-2E99FA03F253}" type="pres">
      <dgm:prSet presAssocID="{5E3898A2-0059-4EB7-A8BF-BB6CA8421AB8}" presName="img" presStyleLbl="fgImgPlace1" presStyleIdx="1" presStyleCnt="4" custScaleX="63161" custScaleY="120133"/>
      <dgm:spPr>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l="-3000" r="-3000"/>
          </a:stretch>
        </a:blipFill>
        <a:ln>
          <a:noFill/>
        </a:ln>
      </dgm:spPr>
      <dgm:extLst>
        <a:ext uri="{E40237B7-FDA0-4F09-8148-C483321AD2D9}">
          <dgm14:cNvPr xmlns:dgm14="http://schemas.microsoft.com/office/drawing/2010/diagram" id="0" name="" descr="Arrow circle with solid fill"/>
        </a:ext>
      </dgm:extLst>
    </dgm:pt>
    <dgm:pt modelId="{FA0DBFE6-C276-49CE-AE7C-121C02CA2659}" type="pres">
      <dgm:prSet presAssocID="{5E3898A2-0059-4EB7-A8BF-BB6CA8421AB8}" presName="text" presStyleLbl="node1" presStyleIdx="1" presStyleCnt="4">
        <dgm:presLayoutVars>
          <dgm:bulletEnabled val="1"/>
        </dgm:presLayoutVars>
      </dgm:prSet>
      <dgm:spPr/>
    </dgm:pt>
    <dgm:pt modelId="{25F1C6BF-82E3-451E-B8BF-6C9BBE561EEE}" type="pres">
      <dgm:prSet presAssocID="{BD8BC8EF-AC84-4462-90C1-F7EF9D9964FC}" presName="spacer" presStyleCnt="0"/>
      <dgm:spPr/>
    </dgm:pt>
    <dgm:pt modelId="{1C549E86-5DCD-43AF-B7E7-843F4F7AAA75}" type="pres">
      <dgm:prSet presAssocID="{C4E38B9C-6C51-4F3F-84AB-966D4B66E122}" presName="comp" presStyleCnt="0"/>
      <dgm:spPr/>
    </dgm:pt>
    <dgm:pt modelId="{7C41C6EA-3477-4CF0-9312-57AA17E81EAE}" type="pres">
      <dgm:prSet presAssocID="{C4E38B9C-6C51-4F3F-84AB-966D4B66E122}" presName="box" presStyleLbl="node1" presStyleIdx="2" presStyleCnt="4"/>
      <dgm:spPr>
        <a:prstGeom prst="rect">
          <a:avLst/>
        </a:prstGeom>
      </dgm:spPr>
    </dgm:pt>
    <dgm:pt modelId="{4187017C-C3E7-4610-BF70-F3E45F5BF65D}" type="pres">
      <dgm:prSet presAssocID="{C4E38B9C-6C51-4F3F-84AB-966D4B66E122}" presName="img" presStyleLbl="fgImgPlace1" presStyleIdx="2" presStyleCnt="4" custScaleX="63984" custScaleY="116257"/>
      <dgm:spPr>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l="-1000" r="-1000"/>
          </a:stretch>
        </a:blipFill>
        <a:ln>
          <a:noFill/>
        </a:ln>
      </dgm:spPr>
      <dgm:extLst>
        <a:ext uri="{E40237B7-FDA0-4F09-8148-C483321AD2D9}">
          <dgm14:cNvPr xmlns:dgm14="http://schemas.microsoft.com/office/drawing/2010/diagram" id="0" name="" descr="Artificial Intelligence with solid fill"/>
        </a:ext>
      </dgm:extLst>
    </dgm:pt>
    <dgm:pt modelId="{A3189A1C-057D-4D60-9499-B6F64E42773F}" type="pres">
      <dgm:prSet presAssocID="{C4E38B9C-6C51-4F3F-84AB-966D4B66E122}" presName="text" presStyleLbl="node1" presStyleIdx="2" presStyleCnt="4">
        <dgm:presLayoutVars>
          <dgm:bulletEnabled val="1"/>
        </dgm:presLayoutVars>
      </dgm:prSet>
      <dgm:spPr/>
    </dgm:pt>
    <dgm:pt modelId="{F7D074FB-3FBA-44FC-945E-C4A1591E57EA}" type="pres">
      <dgm:prSet presAssocID="{22FB009B-D958-4700-8715-B01681BFB4FF}" presName="spacer" presStyleCnt="0"/>
      <dgm:spPr/>
    </dgm:pt>
    <dgm:pt modelId="{810E67FA-3973-4FC3-B23B-EB744F1E62B1}" type="pres">
      <dgm:prSet presAssocID="{C0E9A807-F9CD-495C-9080-4B62B3FF2FD0}" presName="comp" presStyleCnt="0"/>
      <dgm:spPr/>
    </dgm:pt>
    <dgm:pt modelId="{408B7AFA-3158-4D13-AE5A-369DDC582317}" type="pres">
      <dgm:prSet presAssocID="{C0E9A807-F9CD-495C-9080-4B62B3FF2FD0}" presName="box" presStyleLbl="node1" presStyleIdx="3" presStyleCnt="4"/>
      <dgm:spPr>
        <a:prstGeom prst="rect">
          <a:avLst/>
        </a:prstGeom>
      </dgm:spPr>
    </dgm:pt>
    <dgm:pt modelId="{53EAF660-29C9-4589-8873-71A1B4F08E64}" type="pres">
      <dgm:prSet presAssocID="{C0E9A807-F9CD-495C-9080-4B62B3FF2FD0}" presName="img" presStyleLbl="fgImgPlace1" presStyleIdx="3" presStyleCnt="4" custScaleX="63466" custScaleY="114614"/>
      <dgm:spPr>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a:blipFill>
        <a:ln>
          <a:noFill/>
        </a:ln>
      </dgm:spPr>
      <dgm:extLst>
        <a:ext uri="{E40237B7-FDA0-4F09-8148-C483321AD2D9}">
          <dgm14:cNvPr xmlns:dgm14="http://schemas.microsoft.com/office/drawing/2010/diagram" id="0" name="" descr="Internet with solid fill"/>
        </a:ext>
      </dgm:extLst>
    </dgm:pt>
    <dgm:pt modelId="{5820E54C-A8C8-470F-9265-D3F678306E0B}" type="pres">
      <dgm:prSet presAssocID="{C0E9A807-F9CD-495C-9080-4B62B3FF2FD0}" presName="text" presStyleLbl="node1" presStyleIdx="3" presStyleCnt="4">
        <dgm:presLayoutVars>
          <dgm:bulletEnabled val="1"/>
        </dgm:presLayoutVars>
      </dgm:prSet>
      <dgm:spPr/>
    </dgm:pt>
  </dgm:ptLst>
  <dgm:cxnLst>
    <dgm:cxn modelId="{E6B5C804-7E1E-48E4-92BB-D8B7DB2A9F1E}" srcId="{BA6DD994-EA21-4A80-B6C8-DF5239D868E0}" destId="{6E97301B-5E11-4624-908A-78D1613FD7E4}" srcOrd="0" destOrd="0" parTransId="{1A360563-73D7-43AA-BC6F-A876B195FB8D}" sibTransId="{21B5A5F0-BB4F-4BAD-AC93-1D537FCCEBDA}"/>
    <dgm:cxn modelId="{E5B12D0A-E4AB-456C-BDA8-01BFE44822F5}" type="presOf" srcId="{6E97301B-5E11-4624-908A-78D1613FD7E4}" destId="{D4A08524-AB8D-4067-9F98-3310FCBA2F3E}" srcOrd="0" destOrd="0" presId="urn:microsoft.com/office/officeart/2005/8/layout/vList4"/>
    <dgm:cxn modelId="{DB7F3F2E-8547-4CE6-9FC8-669B986663DB}" type="presOf" srcId="{5E3898A2-0059-4EB7-A8BF-BB6CA8421AB8}" destId="{FA0DBFE6-C276-49CE-AE7C-121C02CA2659}" srcOrd="1" destOrd="0" presId="urn:microsoft.com/office/officeart/2005/8/layout/vList4"/>
    <dgm:cxn modelId="{7E559F44-C482-43B8-8738-7E85BC72268D}" srcId="{BA6DD994-EA21-4A80-B6C8-DF5239D868E0}" destId="{5E3898A2-0059-4EB7-A8BF-BB6CA8421AB8}" srcOrd="1" destOrd="0" parTransId="{E9F75FEE-212C-49B1-99C9-2B0F06674047}" sibTransId="{BD8BC8EF-AC84-4462-90C1-F7EF9D9964FC}"/>
    <dgm:cxn modelId="{B0290699-9C57-4DDB-8F5C-89B4F64C437A}" srcId="{BA6DD994-EA21-4A80-B6C8-DF5239D868E0}" destId="{C4E38B9C-6C51-4F3F-84AB-966D4B66E122}" srcOrd="2" destOrd="0" parTransId="{F1A0BA9C-2CDD-4465-BED0-12B7ECA9F2BD}" sibTransId="{22FB009B-D958-4700-8715-B01681BFB4FF}"/>
    <dgm:cxn modelId="{5E67D8A3-5721-4907-B108-4611C6818019}" type="presOf" srcId="{C4E38B9C-6C51-4F3F-84AB-966D4B66E122}" destId="{7C41C6EA-3477-4CF0-9312-57AA17E81EAE}" srcOrd="0" destOrd="0" presId="urn:microsoft.com/office/officeart/2005/8/layout/vList4"/>
    <dgm:cxn modelId="{1C7803BB-83CD-488B-9BA4-EC8C8B674240}" type="presOf" srcId="{C0E9A807-F9CD-495C-9080-4B62B3FF2FD0}" destId="{408B7AFA-3158-4D13-AE5A-369DDC582317}" srcOrd="0" destOrd="0" presId="urn:microsoft.com/office/officeart/2005/8/layout/vList4"/>
    <dgm:cxn modelId="{210E82BB-06B5-4BC2-8B59-DFD8B02836CF}" type="presOf" srcId="{BA6DD994-EA21-4A80-B6C8-DF5239D868E0}" destId="{8BC5F17A-66EB-4209-962E-D8DD8D16AF54}" srcOrd="0" destOrd="0" presId="urn:microsoft.com/office/officeart/2005/8/layout/vList4"/>
    <dgm:cxn modelId="{3C9259BE-D47C-49C0-B9D2-9B2DBE1FE4B7}" type="presOf" srcId="{5E3898A2-0059-4EB7-A8BF-BB6CA8421AB8}" destId="{EF9478EC-EFD7-4A3B-9595-CEBB89E92EC4}" srcOrd="0" destOrd="0" presId="urn:microsoft.com/office/officeart/2005/8/layout/vList4"/>
    <dgm:cxn modelId="{8D19E3C8-F865-4439-8546-96FBECF9BDCF}" srcId="{BA6DD994-EA21-4A80-B6C8-DF5239D868E0}" destId="{C0E9A807-F9CD-495C-9080-4B62B3FF2FD0}" srcOrd="3" destOrd="0" parTransId="{794A15F2-4827-4E8B-BCC7-B0CC264D742C}" sibTransId="{6AD88DC8-C982-4086-AABD-01CA9C6E0A46}"/>
    <dgm:cxn modelId="{4ED4A9DA-10C3-4C2B-822F-F81D9F5D0F25}" type="presOf" srcId="{C4E38B9C-6C51-4F3F-84AB-966D4B66E122}" destId="{A3189A1C-057D-4D60-9499-B6F64E42773F}" srcOrd="1" destOrd="0" presId="urn:microsoft.com/office/officeart/2005/8/layout/vList4"/>
    <dgm:cxn modelId="{BDFE83F3-C48C-4BA5-8D31-B088E10A5A6C}" type="presOf" srcId="{C0E9A807-F9CD-495C-9080-4B62B3FF2FD0}" destId="{5820E54C-A8C8-470F-9265-D3F678306E0B}" srcOrd="1" destOrd="0" presId="urn:microsoft.com/office/officeart/2005/8/layout/vList4"/>
    <dgm:cxn modelId="{BFF10AFB-460A-4263-A15F-657F07833E7D}" type="presOf" srcId="{6E97301B-5E11-4624-908A-78D1613FD7E4}" destId="{9A719401-3C64-4996-AD0B-007CFD38F621}" srcOrd="1" destOrd="0" presId="urn:microsoft.com/office/officeart/2005/8/layout/vList4"/>
    <dgm:cxn modelId="{73938622-9A60-42A7-B148-4BF45FD3A057}" type="presParOf" srcId="{8BC5F17A-66EB-4209-962E-D8DD8D16AF54}" destId="{9C9D3D50-98FB-4C16-A9DE-7F8B0029CDAC}" srcOrd="0" destOrd="0" presId="urn:microsoft.com/office/officeart/2005/8/layout/vList4"/>
    <dgm:cxn modelId="{3FC41247-2BD9-4D35-B308-8589455ED777}" type="presParOf" srcId="{9C9D3D50-98FB-4C16-A9DE-7F8B0029CDAC}" destId="{D4A08524-AB8D-4067-9F98-3310FCBA2F3E}" srcOrd="0" destOrd="0" presId="urn:microsoft.com/office/officeart/2005/8/layout/vList4"/>
    <dgm:cxn modelId="{F043C928-A2CD-43CC-A50B-B63BA036DFDB}" type="presParOf" srcId="{9C9D3D50-98FB-4C16-A9DE-7F8B0029CDAC}" destId="{C816C822-50CB-4BD9-9608-227E8DF50EB9}" srcOrd="1" destOrd="0" presId="urn:microsoft.com/office/officeart/2005/8/layout/vList4"/>
    <dgm:cxn modelId="{EB51C2B4-3D09-4D66-B1D9-D7C3A904075E}" type="presParOf" srcId="{9C9D3D50-98FB-4C16-A9DE-7F8B0029CDAC}" destId="{9A719401-3C64-4996-AD0B-007CFD38F621}" srcOrd="2" destOrd="0" presId="urn:microsoft.com/office/officeart/2005/8/layout/vList4"/>
    <dgm:cxn modelId="{C708D2CF-1B07-42D1-9645-540A30CF8ACB}" type="presParOf" srcId="{8BC5F17A-66EB-4209-962E-D8DD8D16AF54}" destId="{5C21D761-3687-4BF3-A2AD-5A2BE59A64BF}" srcOrd="1" destOrd="0" presId="urn:microsoft.com/office/officeart/2005/8/layout/vList4"/>
    <dgm:cxn modelId="{076998A2-E87A-44BC-A6CB-AD29676B72C9}" type="presParOf" srcId="{8BC5F17A-66EB-4209-962E-D8DD8D16AF54}" destId="{9B674F69-6A9D-4359-ACDF-8142E19AC7D9}" srcOrd="2" destOrd="0" presId="urn:microsoft.com/office/officeart/2005/8/layout/vList4"/>
    <dgm:cxn modelId="{F406456F-7D74-49A4-AA11-93016207D512}" type="presParOf" srcId="{9B674F69-6A9D-4359-ACDF-8142E19AC7D9}" destId="{EF9478EC-EFD7-4A3B-9595-CEBB89E92EC4}" srcOrd="0" destOrd="0" presId="urn:microsoft.com/office/officeart/2005/8/layout/vList4"/>
    <dgm:cxn modelId="{36AEA376-3796-4A8C-83CB-1CFF62B7BB7A}" type="presParOf" srcId="{9B674F69-6A9D-4359-ACDF-8142E19AC7D9}" destId="{DA2598B4-1A36-41E4-9BBC-2E99FA03F253}" srcOrd="1" destOrd="0" presId="urn:microsoft.com/office/officeart/2005/8/layout/vList4"/>
    <dgm:cxn modelId="{A6377284-92BF-4D84-8031-39A8ECEE69F0}" type="presParOf" srcId="{9B674F69-6A9D-4359-ACDF-8142E19AC7D9}" destId="{FA0DBFE6-C276-49CE-AE7C-121C02CA2659}" srcOrd="2" destOrd="0" presId="urn:microsoft.com/office/officeart/2005/8/layout/vList4"/>
    <dgm:cxn modelId="{4E53EA0B-9B9F-4CCC-A848-E1072941E89F}" type="presParOf" srcId="{8BC5F17A-66EB-4209-962E-D8DD8D16AF54}" destId="{25F1C6BF-82E3-451E-B8BF-6C9BBE561EEE}" srcOrd="3" destOrd="0" presId="urn:microsoft.com/office/officeart/2005/8/layout/vList4"/>
    <dgm:cxn modelId="{E4051188-B868-43F6-B265-B9E59738C92F}" type="presParOf" srcId="{8BC5F17A-66EB-4209-962E-D8DD8D16AF54}" destId="{1C549E86-5DCD-43AF-B7E7-843F4F7AAA75}" srcOrd="4" destOrd="0" presId="urn:microsoft.com/office/officeart/2005/8/layout/vList4"/>
    <dgm:cxn modelId="{2C29D3D4-2F03-4699-810C-F3CD3903DB20}" type="presParOf" srcId="{1C549E86-5DCD-43AF-B7E7-843F4F7AAA75}" destId="{7C41C6EA-3477-4CF0-9312-57AA17E81EAE}" srcOrd="0" destOrd="0" presId="urn:microsoft.com/office/officeart/2005/8/layout/vList4"/>
    <dgm:cxn modelId="{A749096B-360E-4CD7-8503-43526E962BA7}" type="presParOf" srcId="{1C549E86-5DCD-43AF-B7E7-843F4F7AAA75}" destId="{4187017C-C3E7-4610-BF70-F3E45F5BF65D}" srcOrd="1" destOrd="0" presId="urn:microsoft.com/office/officeart/2005/8/layout/vList4"/>
    <dgm:cxn modelId="{3F9E7FBD-B115-4BBF-9B13-49D2A3C1415F}" type="presParOf" srcId="{1C549E86-5DCD-43AF-B7E7-843F4F7AAA75}" destId="{A3189A1C-057D-4D60-9499-B6F64E42773F}" srcOrd="2" destOrd="0" presId="urn:microsoft.com/office/officeart/2005/8/layout/vList4"/>
    <dgm:cxn modelId="{273CB8DA-BE2A-44B1-8A67-F453043407B0}" type="presParOf" srcId="{8BC5F17A-66EB-4209-962E-D8DD8D16AF54}" destId="{F7D074FB-3FBA-44FC-945E-C4A1591E57EA}" srcOrd="5" destOrd="0" presId="urn:microsoft.com/office/officeart/2005/8/layout/vList4"/>
    <dgm:cxn modelId="{5BB66CE8-BB9D-46AA-B8CA-80810F73E677}" type="presParOf" srcId="{8BC5F17A-66EB-4209-962E-D8DD8D16AF54}" destId="{810E67FA-3973-4FC3-B23B-EB744F1E62B1}" srcOrd="6" destOrd="0" presId="urn:microsoft.com/office/officeart/2005/8/layout/vList4"/>
    <dgm:cxn modelId="{D2973D0F-804A-4AA7-BA1F-298B0DBFC6C6}" type="presParOf" srcId="{810E67FA-3973-4FC3-B23B-EB744F1E62B1}" destId="{408B7AFA-3158-4D13-AE5A-369DDC582317}" srcOrd="0" destOrd="0" presId="urn:microsoft.com/office/officeart/2005/8/layout/vList4"/>
    <dgm:cxn modelId="{1CE8FE59-CAA0-4B35-8894-DEE256736130}" type="presParOf" srcId="{810E67FA-3973-4FC3-B23B-EB744F1E62B1}" destId="{53EAF660-29C9-4589-8873-71A1B4F08E64}" srcOrd="1" destOrd="0" presId="urn:microsoft.com/office/officeart/2005/8/layout/vList4"/>
    <dgm:cxn modelId="{13FD76AB-290D-4E29-AD96-EA4C04B99E34}" type="presParOf" srcId="{810E67FA-3973-4FC3-B23B-EB744F1E62B1}" destId="{5820E54C-A8C8-470F-9265-D3F678306E0B}" srcOrd="2" destOrd="0" presId="urn:microsoft.com/office/officeart/2005/8/layout/vList4"/>
  </dgm:cxnLst>
  <dgm:bg/>
  <dgm:whole/>
  <dgm:extLst>
    <a:ext uri="http://schemas.microsoft.com/office/drawing/2008/diagram">
      <dsp:dataModelExt xmlns:dsp="http://schemas.microsoft.com/office/drawing/2008/diagram" relId="rId29"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BA6DD994-EA21-4A80-B6C8-DF5239D868E0}" type="doc">
      <dgm:prSet loTypeId="urn:microsoft.com/office/officeart/2005/8/layout/vList4" loCatId="list" qsTypeId="urn:microsoft.com/office/officeart/2005/8/quickstyle/simple1" qsCatId="simple" csTypeId="urn:microsoft.com/office/officeart/2005/8/colors/accent1_2" csCatId="accent1" phldr="1"/>
      <dgm:spPr/>
      <dgm:t>
        <a:bodyPr/>
        <a:lstStyle/>
        <a:p>
          <a:endParaRPr lang="en-US"/>
        </a:p>
      </dgm:t>
    </dgm:pt>
    <dgm:pt modelId="{6E97301B-5E11-4624-908A-78D1613FD7E4}">
      <dgm:prSet phldrT="[Text]" custT="1"/>
      <dgm:spPr>
        <a:solidFill>
          <a:srgbClr val="0F878A">
            <a:alpha val="90000"/>
            <a:hueOff val="0"/>
            <a:satOff val="0"/>
            <a:lumOff val="0"/>
            <a:alphaOff val="0"/>
          </a:srgbClr>
        </a:solidFill>
        <a:ln w="12700" cap="flat" cmpd="sng" algn="ctr">
          <a:solidFill>
            <a:srgbClr val="FFFFFF">
              <a:hueOff val="0"/>
              <a:satOff val="0"/>
              <a:lumOff val="0"/>
              <a:alphaOff val="0"/>
            </a:srgbClr>
          </a:solidFill>
          <a:prstDash val="solid"/>
          <a:miter lim="800000"/>
        </a:ln>
        <a:effectLst/>
      </dgm:spPr>
      <dgm:t>
        <a:bodyPr spcFirstLastPara="0" vert="horz" wrap="square" lIns="53340" tIns="53340" rIns="53340" bIns="53340" numCol="1" spcCol="1270" anchor="ctr" anchorCtr="0"/>
        <a:lstStyle/>
        <a:p>
          <a:pPr marL="0" lvl="0" indent="0" algn="l" defTabSz="400050">
            <a:lnSpc>
              <a:spcPct val="90000"/>
            </a:lnSpc>
            <a:spcBef>
              <a:spcPct val="0"/>
            </a:spcBef>
            <a:spcAft>
              <a:spcPct val="35000"/>
            </a:spcAft>
            <a:buNone/>
          </a:pPr>
          <a:r>
            <a:rPr lang="en-US" sz="1400" kern="1200">
              <a:solidFill>
                <a:srgbClr val="FFFFFF"/>
              </a:solidFill>
              <a:latin typeface="Ubuntu"/>
              <a:ea typeface="+mn-ea"/>
              <a:cs typeface="+mn-cs"/>
            </a:rPr>
            <a:t>Digital &amp; Cloud Transformation</a:t>
          </a:r>
        </a:p>
      </dgm:t>
    </dgm:pt>
    <dgm:pt modelId="{1A360563-73D7-43AA-BC6F-A876B195FB8D}" type="parTrans" cxnId="{E6B5C804-7E1E-48E4-92BB-D8B7DB2A9F1E}">
      <dgm:prSet/>
      <dgm:spPr/>
      <dgm:t>
        <a:bodyPr/>
        <a:lstStyle/>
        <a:p>
          <a:endParaRPr lang="en-US"/>
        </a:p>
      </dgm:t>
    </dgm:pt>
    <dgm:pt modelId="{21B5A5F0-BB4F-4BAD-AC93-1D537FCCEBDA}" type="sibTrans" cxnId="{E6B5C804-7E1E-48E4-92BB-D8B7DB2A9F1E}">
      <dgm:prSet/>
      <dgm:spPr/>
      <dgm:t>
        <a:bodyPr/>
        <a:lstStyle/>
        <a:p>
          <a:endParaRPr lang="en-US"/>
        </a:p>
      </dgm:t>
    </dgm:pt>
    <dgm:pt modelId="{5E3898A2-0059-4EB7-A8BF-BB6CA8421AB8}">
      <dgm:prSet phldrT="[Text]" custT="1"/>
      <dgm:spPr>
        <a:solidFill>
          <a:srgbClr val="0F878A">
            <a:alpha val="90000"/>
            <a:hueOff val="0"/>
            <a:satOff val="0"/>
            <a:lumOff val="0"/>
            <a:alphaOff val="-13333"/>
          </a:srgbClr>
        </a:solidFill>
        <a:ln w="12700" cap="flat" cmpd="sng" algn="ctr">
          <a:solidFill>
            <a:srgbClr val="FFFFFF">
              <a:hueOff val="0"/>
              <a:satOff val="0"/>
              <a:lumOff val="0"/>
              <a:alphaOff val="0"/>
            </a:srgbClr>
          </a:solidFill>
          <a:prstDash val="solid"/>
          <a:miter lim="800000"/>
        </a:ln>
        <a:effectLst/>
      </dgm:spPr>
      <dgm:t>
        <a:bodyPr spcFirstLastPara="0" vert="horz" wrap="square" lIns="53340" tIns="53340" rIns="53340" bIns="53340" numCol="1" spcCol="1270" anchor="ctr" anchorCtr="0"/>
        <a:lstStyle/>
        <a:p>
          <a:pPr marL="0" lvl="0" indent="0" algn="l" defTabSz="400050">
            <a:lnSpc>
              <a:spcPct val="90000"/>
            </a:lnSpc>
            <a:spcBef>
              <a:spcPct val="0"/>
            </a:spcBef>
            <a:spcAft>
              <a:spcPct val="35000"/>
            </a:spcAft>
            <a:buNone/>
          </a:pPr>
          <a:r>
            <a:rPr lang="en-US" sz="1400" kern="1200">
              <a:solidFill>
                <a:srgbClr val="FFFFFF"/>
              </a:solidFill>
              <a:latin typeface="Ubuntu"/>
              <a:ea typeface="+mn-ea"/>
              <a:cs typeface="+mn-cs"/>
            </a:rPr>
            <a:t>Intelligent Automation</a:t>
          </a:r>
        </a:p>
      </dgm:t>
    </dgm:pt>
    <dgm:pt modelId="{E9F75FEE-212C-49B1-99C9-2B0F06674047}" type="parTrans" cxnId="{7E559F44-C482-43B8-8738-7E85BC72268D}">
      <dgm:prSet/>
      <dgm:spPr/>
      <dgm:t>
        <a:bodyPr/>
        <a:lstStyle/>
        <a:p>
          <a:endParaRPr lang="en-US"/>
        </a:p>
      </dgm:t>
    </dgm:pt>
    <dgm:pt modelId="{BD8BC8EF-AC84-4462-90C1-F7EF9D9964FC}" type="sibTrans" cxnId="{7E559F44-C482-43B8-8738-7E85BC72268D}">
      <dgm:prSet/>
      <dgm:spPr/>
      <dgm:t>
        <a:bodyPr/>
        <a:lstStyle/>
        <a:p>
          <a:endParaRPr lang="en-US"/>
        </a:p>
      </dgm:t>
    </dgm:pt>
    <dgm:pt modelId="{697394E6-3869-46F8-B191-4928BD7D57A3}">
      <dgm:prSet phldrT="[Text]" custT="1"/>
      <dgm:spPr>
        <a:solidFill>
          <a:srgbClr val="0F878A">
            <a:alpha val="90000"/>
            <a:hueOff val="0"/>
            <a:satOff val="0"/>
            <a:lumOff val="0"/>
            <a:alphaOff val="-26667"/>
          </a:srgbClr>
        </a:solidFill>
        <a:ln w="12700" cap="flat" cmpd="sng" algn="ctr">
          <a:solidFill>
            <a:srgbClr val="FFFFFF">
              <a:hueOff val="0"/>
              <a:satOff val="0"/>
              <a:lumOff val="0"/>
              <a:alphaOff val="0"/>
            </a:srgbClr>
          </a:solidFill>
          <a:prstDash val="solid"/>
          <a:miter lim="800000"/>
        </a:ln>
        <a:effectLst/>
      </dgm:spPr>
      <dgm:t>
        <a:bodyPr spcFirstLastPara="0" vert="horz" wrap="square" lIns="53340" tIns="53340" rIns="53340" bIns="53340" numCol="1" spcCol="1270" anchor="ctr" anchorCtr="0"/>
        <a:lstStyle/>
        <a:p>
          <a:pPr marL="0" lvl="0" indent="0" algn="l" defTabSz="622300">
            <a:lnSpc>
              <a:spcPct val="90000"/>
            </a:lnSpc>
            <a:spcBef>
              <a:spcPct val="0"/>
            </a:spcBef>
            <a:spcAft>
              <a:spcPct val="35000"/>
            </a:spcAft>
            <a:buNone/>
          </a:pPr>
          <a:r>
            <a:rPr lang="en-US" sz="1400" kern="1200">
              <a:solidFill>
                <a:srgbClr val="FFFFFF"/>
              </a:solidFill>
              <a:latin typeface="Ubuntu"/>
              <a:ea typeface="+mn-ea"/>
              <a:cs typeface="+mn-cs"/>
            </a:rPr>
            <a:t>Quality Engineering &amp; Assurance</a:t>
          </a:r>
          <a:endParaRPr lang="en-US" sz="1400" kern="1200">
            <a:solidFill>
              <a:schemeClr val="bg1"/>
            </a:solidFill>
            <a:latin typeface="Ubuntu"/>
            <a:ea typeface="+mn-ea"/>
            <a:cs typeface="+mn-cs"/>
          </a:endParaRPr>
        </a:p>
      </dgm:t>
    </dgm:pt>
    <dgm:pt modelId="{C279E2C4-48F9-460C-879D-3B3725390867}" type="parTrans" cxnId="{DB401004-F969-4691-9707-18840B82E453}">
      <dgm:prSet/>
      <dgm:spPr/>
      <dgm:t>
        <a:bodyPr/>
        <a:lstStyle/>
        <a:p>
          <a:endParaRPr lang="en-US"/>
        </a:p>
      </dgm:t>
    </dgm:pt>
    <dgm:pt modelId="{C2E35ACD-5869-4E2F-BEF6-162506271E17}" type="sibTrans" cxnId="{DB401004-F969-4691-9707-18840B82E453}">
      <dgm:prSet/>
      <dgm:spPr/>
      <dgm:t>
        <a:bodyPr/>
        <a:lstStyle/>
        <a:p>
          <a:endParaRPr lang="en-US"/>
        </a:p>
      </dgm:t>
    </dgm:pt>
    <dgm:pt modelId="{E0271C03-4A36-43E4-96F9-732F327ECE22}">
      <dgm:prSet custT="1"/>
      <dgm:spPr>
        <a:solidFill>
          <a:srgbClr val="0F878A">
            <a:alpha val="90000"/>
            <a:hueOff val="0"/>
            <a:satOff val="0"/>
            <a:lumOff val="0"/>
            <a:alphaOff val="-40000"/>
          </a:srgbClr>
        </a:solidFill>
        <a:ln w="12700" cap="flat" cmpd="sng" algn="ctr">
          <a:solidFill>
            <a:srgbClr val="FFFFFF">
              <a:hueOff val="0"/>
              <a:satOff val="0"/>
              <a:lumOff val="0"/>
              <a:alphaOff val="0"/>
            </a:srgbClr>
          </a:solidFill>
          <a:prstDash val="solid"/>
          <a:miter lim="800000"/>
        </a:ln>
        <a:effectLst/>
      </dgm:spPr>
      <dgm:t>
        <a:bodyPr spcFirstLastPara="0" vert="horz" wrap="square" lIns="60960" tIns="60960" rIns="60960" bIns="60960" numCol="1" spcCol="1270" anchor="ctr" anchorCtr="0"/>
        <a:lstStyle/>
        <a:p>
          <a:pPr marL="0" lvl="0" indent="0" algn="l" defTabSz="400050">
            <a:lnSpc>
              <a:spcPct val="90000"/>
            </a:lnSpc>
            <a:spcBef>
              <a:spcPct val="0"/>
            </a:spcBef>
            <a:spcAft>
              <a:spcPct val="35000"/>
            </a:spcAft>
            <a:buNone/>
          </a:pPr>
          <a:r>
            <a:rPr lang="en-US" sz="1400" kern="1200">
              <a:solidFill>
                <a:srgbClr val="FFFFFF"/>
              </a:solidFill>
              <a:latin typeface="Ubuntu"/>
              <a:ea typeface="+mn-ea"/>
              <a:cs typeface="+mn-cs"/>
            </a:rPr>
            <a:t>Advanced Data Analytics &amp; AI</a:t>
          </a:r>
        </a:p>
      </dgm:t>
    </dgm:pt>
    <dgm:pt modelId="{252379B5-8E75-4ECA-B0DA-910659B95F73}" type="sibTrans" cxnId="{399FEACD-74A9-4CF3-8463-DB742CE0C06C}">
      <dgm:prSet/>
      <dgm:spPr/>
      <dgm:t>
        <a:bodyPr/>
        <a:lstStyle/>
        <a:p>
          <a:endParaRPr lang="en-US"/>
        </a:p>
      </dgm:t>
    </dgm:pt>
    <dgm:pt modelId="{9E8ACAF7-7857-4850-92D7-6FD91653C8E2}" type="parTrans" cxnId="{399FEACD-74A9-4CF3-8463-DB742CE0C06C}">
      <dgm:prSet/>
      <dgm:spPr/>
      <dgm:t>
        <a:bodyPr/>
        <a:lstStyle/>
        <a:p>
          <a:endParaRPr lang="en-US"/>
        </a:p>
      </dgm:t>
    </dgm:pt>
    <dgm:pt modelId="{8BC5F17A-66EB-4209-962E-D8DD8D16AF54}" type="pres">
      <dgm:prSet presAssocID="{BA6DD994-EA21-4A80-B6C8-DF5239D868E0}" presName="linear" presStyleCnt="0">
        <dgm:presLayoutVars>
          <dgm:dir/>
          <dgm:resizeHandles val="exact"/>
        </dgm:presLayoutVars>
      </dgm:prSet>
      <dgm:spPr/>
    </dgm:pt>
    <dgm:pt modelId="{9C9D3D50-98FB-4C16-A9DE-7F8B0029CDAC}" type="pres">
      <dgm:prSet presAssocID="{6E97301B-5E11-4624-908A-78D1613FD7E4}" presName="comp" presStyleCnt="0"/>
      <dgm:spPr/>
    </dgm:pt>
    <dgm:pt modelId="{D4A08524-AB8D-4067-9F98-3310FCBA2F3E}" type="pres">
      <dgm:prSet presAssocID="{6E97301B-5E11-4624-908A-78D1613FD7E4}" presName="box" presStyleLbl="node1" presStyleIdx="0" presStyleCnt="4"/>
      <dgm:spPr>
        <a:xfrm>
          <a:off x="0" y="0"/>
          <a:ext cx="3468368" cy="484119"/>
        </a:xfrm>
        <a:prstGeom prst="rect">
          <a:avLst/>
        </a:prstGeom>
      </dgm:spPr>
    </dgm:pt>
    <dgm:pt modelId="{C816C822-50CB-4BD9-9608-227E8DF50EB9}" type="pres">
      <dgm:prSet presAssocID="{6E97301B-5E11-4624-908A-78D1613FD7E4}" presName="img" presStyleLbl="fgImgPlace1" presStyleIdx="0" presStyleCnt="4" custScaleX="60790" custScaleY="94646"/>
      <dgm:spPr>
        <a:xfrm>
          <a:off x="48411" y="48411"/>
          <a:ext cx="693673" cy="387295"/>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t="-3000" b="-3000"/>
          </a:stretch>
        </a:blipFill>
        <a:ln w="12700" cap="flat" cmpd="sng" algn="ctr">
          <a:noFill/>
          <a:prstDash val="solid"/>
          <a:miter lim="800000"/>
        </a:ln>
        <a:effectLst/>
      </dgm:spPr>
      <dgm:extLst>
        <a:ext uri="{E40237B7-FDA0-4F09-8148-C483321AD2D9}">
          <dgm14:cNvPr xmlns:dgm14="http://schemas.microsoft.com/office/drawing/2010/diagram" id="0" name="" descr="Syncing cloud with solid fill"/>
        </a:ext>
      </dgm:extLst>
    </dgm:pt>
    <dgm:pt modelId="{9A719401-3C64-4996-AD0B-007CFD38F621}" type="pres">
      <dgm:prSet presAssocID="{6E97301B-5E11-4624-908A-78D1613FD7E4}" presName="text" presStyleLbl="node1" presStyleIdx="0" presStyleCnt="4">
        <dgm:presLayoutVars>
          <dgm:bulletEnabled val="1"/>
        </dgm:presLayoutVars>
      </dgm:prSet>
      <dgm:spPr/>
    </dgm:pt>
    <dgm:pt modelId="{5C21D761-3687-4BF3-A2AD-5A2BE59A64BF}" type="pres">
      <dgm:prSet presAssocID="{21B5A5F0-BB4F-4BAD-AC93-1D537FCCEBDA}" presName="spacer" presStyleCnt="0"/>
      <dgm:spPr/>
    </dgm:pt>
    <dgm:pt modelId="{9E59E20E-2A91-4BD9-87AB-141F1BD29986}" type="pres">
      <dgm:prSet presAssocID="{5E3898A2-0059-4EB7-A8BF-BB6CA8421AB8}" presName="comp" presStyleCnt="0"/>
      <dgm:spPr/>
    </dgm:pt>
    <dgm:pt modelId="{74EA2C28-A638-49E2-B4F2-584A375476CF}" type="pres">
      <dgm:prSet presAssocID="{5E3898A2-0059-4EB7-A8BF-BB6CA8421AB8}" presName="box" presStyleLbl="node1" presStyleIdx="1" presStyleCnt="4"/>
      <dgm:spPr>
        <a:xfrm>
          <a:off x="0" y="532531"/>
          <a:ext cx="3468368" cy="484119"/>
        </a:xfrm>
        <a:prstGeom prst="rect">
          <a:avLst/>
        </a:prstGeom>
      </dgm:spPr>
    </dgm:pt>
    <dgm:pt modelId="{5FD6B033-9918-452F-8B14-B741F50A76ED}" type="pres">
      <dgm:prSet presAssocID="{5E3898A2-0059-4EB7-A8BF-BB6CA8421AB8}" presName="img" presStyleLbl="fgImgPlace1" presStyleIdx="1" presStyleCnt="4" custScaleX="60790" custScaleY="94095" custLinFactNeighborX="1515" custLinFactNeighborY="2714"/>
      <dgm:spPr>
        <a:xfrm>
          <a:off x="48411" y="580943"/>
          <a:ext cx="693673" cy="387295"/>
        </a:xfrm>
        <a:prstGeom prst="rect">
          <a:avLst/>
        </a:prstGeom>
        <a:blipFill>
          <a:blip xmlns:r="http://schemas.openxmlformats.org/officeDocument/2006/relationships" r:embed="rId3">
            <a:extLst>
              <a:ext uri="{96DAC541-7B7A-43D3-8B79-37D633B846F1}">
                <asvg:svgBlip xmlns:asvg="http://schemas.microsoft.com/office/drawing/2016/SVG/main" r:embed="rId4"/>
              </a:ext>
            </a:extLst>
          </a:blip>
          <a:srcRect/>
          <a:stretch>
            <a:fillRect t="-4000" b="-4000"/>
          </a:stretch>
        </a:blipFill>
        <a:ln w="12700" cap="flat" cmpd="sng" algn="ctr">
          <a:noFill/>
          <a:prstDash val="solid"/>
          <a:miter lim="800000"/>
        </a:ln>
        <a:effectLst/>
      </dgm:spPr>
      <dgm:extLst>
        <a:ext uri="{E40237B7-FDA0-4F09-8148-C483321AD2D9}">
          <dgm14:cNvPr xmlns:dgm14="http://schemas.microsoft.com/office/drawing/2010/diagram" id="0" name="" descr="Robot Hand with solid fill"/>
        </a:ext>
      </dgm:extLst>
    </dgm:pt>
    <dgm:pt modelId="{4FC934FF-46AA-4572-A0DB-3800DB19B573}" type="pres">
      <dgm:prSet presAssocID="{5E3898A2-0059-4EB7-A8BF-BB6CA8421AB8}" presName="text" presStyleLbl="node1" presStyleIdx="1" presStyleCnt="4">
        <dgm:presLayoutVars>
          <dgm:bulletEnabled val="1"/>
        </dgm:presLayoutVars>
      </dgm:prSet>
      <dgm:spPr/>
    </dgm:pt>
    <dgm:pt modelId="{543F4753-E176-4A37-B737-939876C2896F}" type="pres">
      <dgm:prSet presAssocID="{BD8BC8EF-AC84-4462-90C1-F7EF9D9964FC}" presName="spacer" presStyleCnt="0"/>
      <dgm:spPr/>
    </dgm:pt>
    <dgm:pt modelId="{5EA47212-56BA-4573-AA04-16A70079EEED}" type="pres">
      <dgm:prSet presAssocID="{697394E6-3869-46F8-B191-4928BD7D57A3}" presName="comp" presStyleCnt="0"/>
      <dgm:spPr/>
    </dgm:pt>
    <dgm:pt modelId="{A1F21A99-438F-4BC3-8765-2E54181C7399}" type="pres">
      <dgm:prSet presAssocID="{697394E6-3869-46F8-B191-4928BD7D57A3}" presName="box" presStyleLbl="node1" presStyleIdx="2" presStyleCnt="4"/>
      <dgm:spPr>
        <a:xfrm>
          <a:off x="0" y="1065062"/>
          <a:ext cx="3468368" cy="484119"/>
        </a:xfrm>
        <a:prstGeom prst="rect">
          <a:avLst/>
        </a:prstGeom>
      </dgm:spPr>
    </dgm:pt>
    <dgm:pt modelId="{EEB75BBC-25BA-4390-8568-7151B2A1B1A7}" type="pres">
      <dgm:prSet presAssocID="{697394E6-3869-46F8-B191-4928BD7D57A3}" presName="img" presStyleLbl="fgImgPlace1" presStyleIdx="2" presStyleCnt="4" custScaleX="51343" custScaleY="95900" custLinFactNeighborX="-4545"/>
      <dgm:spPr>
        <a:xfrm>
          <a:off x="48411" y="1113474"/>
          <a:ext cx="693673" cy="387295"/>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t="-4000" b="-4000"/>
          </a:stretch>
        </a:blipFill>
        <a:ln w="12700" cap="flat" cmpd="sng" algn="ctr">
          <a:noFill/>
          <a:prstDash val="solid"/>
          <a:miter lim="800000"/>
        </a:ln>
        <a:effectLst/>
      </dgm:spPr>
      <dgm:extLst>
        <a:ext uri="{E40237B7-FDA0-4F09-8148-C483321AD2D9}">
          <dgm14:cNvPr xmlns:dgm14="http://schemas.microsoft.com/office/drawing/2010/diagram" id="0" name="" descr="Programmer female with solid fill"/>
        </a:ext>
      </dgm:extLst>
    </dgm:pt>
    <dgm:pt modelId="{9605AA69-1B8F-4F5D-87D6-B524C706E5D0}" type="pres">
      <dgm:prSet presAssocID="{697394E6-3869-46F8-B191-4928BD7D57A3}" presName="text" presStyleLbl="node1" presStyleIdx="2" presStyleCnt="4">
        <dgm:presLayoutVars>
          <dgm:bulletEnabled val="1"/>
        </dgm:presLayoutVars>
      </dgm:prSet>
      <dgm:spPr/>
    </dgm:pt>
    <dgm:pt modelId="{E7B587D6-684A-43D0-B11E-CF69D14CFEC0}" type="pres">
      <dgm:prSet presAssocID="{C2E35ACD-5869-4E2F-BEF6-162506271E17}" presName="spacer" presStyleCnt="0"/>
      <dgm:spPr/>
    </dgm:pt>
    <dgm:pt modelId="{7DF08F03-B850-4C05-ADDD-8C0D0190E787}" type="pres">
      <dgm:prSet presAssocID="{E0271C03-4A36-43E4-96F9-732F327ECE22}" presName="comp" presStyleCnt="0"/>
      <dgm:spPr/>
    </dgm:pt>
    <dgm:pt modelId="{8045A5EA-36EB-4786-A3E7-D60FA3D011BE}" type="pres">
      <dgm:prSet presAssocID="{E0271C03-4A36-43E4-96F9-732F327ECE22}" presName="box" presStyleLbl="node1" presStyleIdx="3" presStyleCnt="4"/>
      <dgm:spPr>
        <a:xfrm>
          <a:off x="0" y="1597594"/>
          <a:ext cx="3468368" cy="484119"/>
        </a:xfrm>
        <a:prstGeom prst="rect">
          <a:avLst/>
        </a:prstGeom>
      </dgm:spPr>
    </dgm:pt>
    <dgm:pt modelId="{B2858469-F865-4FBF-AE3B-BDB24A49F64A}" type="pres">
      <dgm:prSet presAssocID="{E0271C03-4A36-43E4-96F9-732F327ECE22}" presName="img" presStyleLbl="fgImgPlace1" presStyleIdx="3" presStyleCnt="4" custScaleX="60790" custScaleY="104398"/>
      <dgm:spPr>
        <a:xfrm>
          <a:off x="48411" y="1646006"/>
          <a:ext cx="693673" cy="387295"/>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t="-4000" b="-4000"/>
          </a:stretch>
        </a:blipFill>
        <a:ln w="12700" cap="flat" cmpd="sng" algn="ctr">
          <a:noFill/>
          <a:prstDash val="solid"/>
          <a:miter lim="800000"/>
        </a:ln>
        <a:effectLst/>
      </dgm:spPr>
      <dgm:extLst>
        <a:ext uri="{E40237B7-FDA0-4F09-8148-C483321AD2D9}">
          <dgm14:cNvPr xmlns:dgm14="http://schemas.microsoft.com/office/drawing/2010/diagram" id="0" name="" descr="Bar chart with solid fill"/>
        </a:ext>
      </dgm:extLst>
    </dgm:pt>
    <dgm:pt modelId="{79486B02-C80B-4988-895A-2CC6FBE13B4A}" type="pres">
      <dgm:prSet presAssocID="{E0271C03-4A36-43E4-96F9-732F327ECE22}" presName="text" presStyleLbl="node1" presStyleIdx="3" presStyleCnt="4">
        <dgm:presLayoutVars>
          <dgm:bulletEnabled val="1"/>
        </dgm:presLayoutVars>
      </dgm:prSet>
      <dgm:spPr/>
    </dgm:pt>
  </dgm:ptLst>
  <dgm:cxnLst>
    <dgm:cxn modelId="{DB401004-F969-4691-9707-18840B82E453}" srcId="{BA6DD994-EA21-4A80-B6C8-DF5239D868E0}" destId="{697394E6-3869-46F8-B191-4928BD7D57A3}" srcOrd="2" destOrd="0" parTransId="{C279E2C4-48F9-460C-879D-3B3725390867}" sibTransId="{C2E35ACD-5869-4E2F-BEF6-162506271E17}"/>
    <dgm:cxn modelId="{E6B5C804-7E1E-48E4-92BB-D8B7DB2A9F1E}" srcId="{BA6DD994-EA21-4A80-B6C8-DF5239D868E0}" destId="{6E97301B-5E11-4624-908A-78D1613FD7E4}" srcOrd="0" destOrd="0" parTransId="{1A360563-73D7-43AA-BC6F-A876B195FB8D}" sibTransId="{21B5A5F0-BB4F-4BAD-AC93-1D537FCCEBDA}"/>
    <dgm:cxn modelId="{E5B12D0A-E4AB-456C-BDA8-01BFE44822F5}" type="presOf" srcId="{6E97301B-5E11-4624-908A-78D1613FD7E4}" destId="{D4A08524-AB8D-4067-9F98-3310FCBA2F3E}" srcOrd="0" destOrd="0" presId="urn:microsoft.com/office/officeart/2005/8/layout/vList4"/>
    <dgm:cxn modelId="{7342B017-76D8-4B3D-84F0-EF216FFDA7FC}" type="presOf" srcId="{E0271C03-4A36-43E4-96F9-732F327ECE22}" destId="{8045A5EA-36EB-4786-A3E7-D60FA3D011BE}" srcOrd="0" destOrd="0" presId="urn:microsoft.com/office/officeart/2005/8/layout/vList4"/>
    <dgm:cxn modelId="{A83E0825-2ED9-4548-85E1-48A2B95CA409}" type="presOf" srcId="{697394E6-3869-46F8-B191-4928BD7D57A3}" destId="{A1F21A99-438F-4BC3-8765-2E54181C7399}" srcOrd="0" destOrd="0" presId="urn:microsoft.com/office/officeart/2005/8/layout/vList4"/>
    <dgm:cxn modelId="{7E559F44-C482-43B8-8738-7E85BC72268D}" srcId="{BA6DD994-EA21-4A80-B6C8-DF5239D868E0}" destId="{5E3898A2-0059-4EB7-A8BF-BB6CA8421AB8}" srcOrd="1" destOrd="0" parTransId="{E9F75FEE-212C-49B1-99C9-2B0F06674047}" sibTransId="{BD8BC8EF-AC84-4462-90C1-F7EF9D9964FC}"/>
    <dgm:cxn modelId="{D8575267-6366-41E2-877F-3200BEFB8964}" type="presOf" srcId="{5E3898A2-0059-4EB7-A8BF-BB6CA8421AB8}" destId="{74EA2C28-A638-49E2-B4F2-584A375476CF}" srcOrd="0" destOrd="0" presId="urn:microsoft.com/office/officeart/2005/8/layout/vList4"/>
    <dgm:cxn modelId="{4B6BCF9D-FB64-40A2-8241-9DF8DA18E4B6}" type="presOf" srcId="{5E3898A2-0059-4EB7-A8BF-BB6CA8421AB8}" destId="{4FC934FF-46AA-4572-A0DB-3800DB19B573}" srcOrd="1" destOrd="0" presId="urn:microsoft.com/office/officeart/2005/8/layout/vList4"/>
    <dgm:cxn modelId="{B89D03AF-0667-4466-BA51-95A0E6A31FE1}" type="presOf" srcId="{E0271C03-4A36-43E4-96F9-732F327ECE22}" destId="{79486B02-C80B-4988-895A-2CC6FBE13B4A}" srcOrd="1" destOrd="0" presId="urn:microsoft.com/office/officeart/2005/8/layout/vList4"/>
    <dgm:cxn modelId="{210E82BB-06B5-4BC2-8B59-DFD8B02836CF}" type="presOf" srcId="{BA6DD994-EA21-4A80-B6C8-DF5239D868E0}" destId="{8BC5F17A-66EB-4209-962E-D8DD8D16AF54}" srcOrd="0" destOrd="0" presId="urn:microsoft.com/office/officeart/2005/8/layout/vList4"/>
    <dgm:cxn modelId="{332D6BC2-E86D-45C4-8936-762377D092FC}" type="presOf" srcId="{697394E6-3869-46F8-B191-4928BD7D57A3}" destId="{9605AA69-1B8F-4F5D-87D6-B524C706E5D0}" srcOrd="1" destOrd="0" presId="urn:microsoft.com/office/officeart/2005/8/layout/vList4"/>
    <dgm:cxn modelId="{399FEACD-74A9-4CF3-8463-DB742CE0C06C}" srcId="{BA6DD994-EA21-4A80-B6C8-DF5239D868E0}" destId="{E0271C03-4A36-43E4-96F9-732F327ECE22}" srcOrd="3" destOrd="0" parTransId="{9E8ACAF7-7857-4850-92D7-6FD91653C8E2}" sibTransId="{252379B5-8E75-4ECA-B0DA-910659B95F73}"/>
    <dgm:cxn modelId="{BFF10AFB-460A-4263-A15F-657F07833E7D}" type="presOf" srcId="{6E97301B-5E11-4624-908A-78D1613FD7E4}" destId="{9A719401-3C64-4996-AD0B-007CFD38F621}" srcOrd="1" destOrd="0" presId="urn:microsoft.com/office/officeart/2005/8/layout/vList4"/>
    <dgm:cxn modelId="{73938622-9A60-42A7-B148-4BF45FD3A057}" type="presParOf" srcId="{8BC5F17A-66EB-4209-962E-D8DD8D16AF54}" destId="{9C9D3D50-98FB-4C16-A9DE-7F8B0029CDAC}" srcOrd="0" destOrd="0" presId="urn:microsoft.com/office/officeart/2005/8/layout/vList4"/>
    <dgm:cxn modelId="{3FC41247-2BD9-4D35-B308-8589455ED777}" type="presParOf" srcId="{9C9D3D50-98FB-4C16-A9DE-7F8B0029CDAC}" destId="{D4A08524-AB8D-4067-9F98-3310FCBA2F3E}" srcOrd="0" destOrd="0" presId="urn:microsoft.com/office/officeart/2005/8/layout/vList4"/>
    <dgm:cxn modelId="{F043C928-A2CD-43CC-A50B-B63BA036DFDB}" type="presParOf" srcId="{9C9D3D50-98FB-4C16-A9DE-7F8B0029CDAC}" destId="{C816C822-50CB-4BD9-9608-227E8DF50EB9}" srcOrd="1" destOrd="0" presId="urn:microsoft.com/office/officeart/2005/8/layout/vList4"/>
    <dgm:cxn modelId="{EB51C2B4-3D09-4D66-B1D9-D7C3A904075E}" type="presParOf" srcId="{9C9D3D50-98FB-4C16-A9DE-7F8B0029CDAC}" destId="{9A719401-3C64-4996-AD0B-007CFD38F621}" srcOrd="2" destOrd="0" presId="urn:microsoft.com/office/officeart/2005/8/layout/vList4"/>
    <dgm:cxn modelId="{C708D2CF-1B07-42D1-9645-540A30CF8ACB}" type="presParOf" srcId="{8BC5F17A-66EB-4209-962E-D8DD8D16AF54}" destId="{5C21D761-3687-4BF3-A2AD-5A2BE59A64BF}" srcOrd="1" destOrd="0" presId="urn:microsoft.com/office/officeart/2005/8/layout/vList4"/>
    <dgm:cxn modelId="{5B31E614-7873-4361-B052-9F7304BCCF1B}" type="presParOf" srcId="{8BC5F17A-66EB-4209-962E-D8DD8D16AF54}" destId="{9E59E20E-2A91-4BD9-87AB-141F1BD29986}" srcOrd="2" destOrd="0" presId="urn:microsoft.com/office/officeart/2005/8/layout/vList4"/>
    <dgm:cxn modelId="{B90F13DE-FF89-498A-87ED-3D6514846CD8}" type="presParOf" srcId="{9E59E20E-2A91-4BD9-87AB-141F1BD29986}" destId="{74EA2C28-A638-49E2-B4F2-584A375476CF}" srcOrd="0" destOrd="0" presId="urn:microsoft.com/office/officeart/2005/8/layout/vList4"/>
    <dgm:cxn modelId="{7400E48C-10CE-405A-B140-9D82B02B719F}" type="presParOf" srcId="{9E59E20E-2A91-4BD9-87AB-141F1BD29986}" destId="{5FD6B033-9918-452F-8B14-B741F50A76ED}" srcOrd="1" destOrd="0" presId="urn:microsoft.com/office/officeart/2005/8/layout/vList4"/>
    <dgm:cxn modelId="{3379ECF6-1A64-4050-AACB-3298F6634D9E}" type="presParOf" srcId="{9E59E20E-2A91-4BD9-87AB-141F1BD29986}" destId="{4FC934FF-46AA-4572-A0DB-3800DB19B573}" srcOrd="2" destOrd="0" presId="urn:microsoft.com/office/officeart/2005/8/layout/vList4"/>
    <dgm:cxn modelId="{45FCB87B-138F-4E3B-AE9F-E9FE3FAC3E4B}" type="presParOf" srcId="{8BC5F17A-66EB-4209-962E-D8DD8D16AF54}" destId="{543F4753-E176-4A37-B737-939876C2896F}" srcOrd="3" destOrd="0" presId="urn:microsoft.com/office/officeart/2005/8/layout/vList4"/>
    <dgm:cxn modelId="{27E9240D-525B-4211-9411-AAF17AEEEFEB}" type="presParOf" srcId="{8BC5F17A-66EB-4209-962E-D8DD8D16AF54}" destId="{5EA47212-56BA-4573-AA04-16A70079EEED}" srcOrd="4" destOrd="0" presId="urn:microsoft.com/office/officeart/2005/8/layout/vList4"/>
    <dgm:cxn modelId="{296B2418-703B-49C3-8D8E-3FB9AAFC51C5}" type="presParOf" srcId="{5EA47212-56BA-4573-AA04-16A70079EEED}" destId="{A1F21A99-438F-4BC3-8765-2E54181C7399}" srcOrd="0" destOrd="0" presId="urn:microsoft.com/office/officeart/2005/8/layout/vList4"/>
    <dgm:cxn modelId="{8B21A77F-81C3-415F-BFE9-F83CFEB23691}" type="presParOf" srcId="{5EA47212-56BA-4573-AA04-16A70079EEED}" destId="{EEB75BBC-25BA-4390-8568-7151B2A1B1A7}" srcOrd="1" destOrd="0" presId="urn:microsoft.com/office/officeart/2005/8/layout/vList4"/>
    <dgm:cxn modelId="{3B7392CD-D7A3-4631-A084-195A722B4E10}" type="presParOf" srcId="{5EA47212-56BA-4573-AA04-16A70079EEED}" destId="{9605AA69-1B8F-4F5D-87D6-B524C706E5D0}" srcOrd="2" destOrd="0" presId="urn:microsoft.com/office/officeart/2005/8/layout/vList4"/>
    <dgm:cxn modelId="{CD4FA79E-0F11-40D5-B239-823F16989128}" type="presParOf" srcId="{8BC5F17A-66EB-4209-962E-D8DD8D16AF54}" destId="{E7B587D6-684A-43D0-B11E-CF69D14CFEC0}" srcOrd="5" destOrd="0" presId="urn:microsoft.com/office/officeart/2005/8/layout/vList4"/>
    <dgm:cxn modelId="{D9217FF3-8FFD-4B22-83A1-30FD994F1216}" type="presParOf" srcId="{8BC5F17A-66EB-4209-962E-D8DD8D16AF54}" destId="{7DF08F03-B850-4C05-ADDD-8C0D0190E787}" srcOrd="6" destOrd="0" presId="urn:microsoft.com/office/officeart/2005/8/layout/vList4"/>
    <dgm:cxn modelId="{C6FFDF62-F21D-47DB-ABC2-B2E7388A0263}" type="presParOf" srcId="{7DF08F03-B850-4C05-ADDD-8C0D0190E787}" destId="{8045A5EA-36EB-4786-A3E7-D60FA3D011BE}" srcOrd="0" destOrd="0" presId="urn:microsoft.com/office/officeart/2005/8/layout/vList4"/>
    <dgm:cxn modelId="{EF724EE0-1262-47FF-A4A9-432157CAAC9E}" type="presParOf" srcId="{7DF08F03-B850-4C05-ADDD-8C0D0190E787}" destId="{B2858469-F865-4FBF-AE3B-BDB24A49F64A}" srcOrd="1" destOrd="0" presId="urn:microsoft.com/office/officeart/2005/8/layout/vList4"/>
    <dgm:cxn modelId="{BF755F8C-E413-4552-BDE8-1462C6CB727E}" type="presParOf" srcId="{7DF08F03-B850-4C05-ADDD-8C0D0190E787}" destId="{79486B02-C80B-4988-895A-2CC6FBE13B4A}" srcOrd="2" destOrd="0" presId="urn:microsoft.com/office/officeart/2005/8/layout/vList4"/>
  </dgm:cxnLst>
  <dgm:bg/>
  <dgm:whole/>
  <dgm:extLst>
    <a:ext uri="http://schemas.microsoft.com/office/drawing/2008/diagram">
      <dsp:dataModelExt xmlns:dsp="http://schemas.microsoft.com/office/drawing/2008/diagram" relId="rId34"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EC2AB34-28BF-47F4-B59E-9103703745FF}">
      <dsp:nvSpPr>
        <dsp:cNvPr id="0" name=""/>
        <dsp:cNvSpPr/>
      </dsp:nvSpPr>
      <dsp:spPr>
        <a:xfrm rot="10800000">
          <a:off x="811666" y="576"/>
          <a:ext cx="2520836" cy="706875"/>
        </a:xfrm>
        <a:prstGeom prst="homePlat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11712" tIns="53340" rIns="99568" bIns="53340" numCol="1" spcCol="1270" anchor="ctr" anchorCtr="0">
          <a:noAutofit/>
        </a:bodyPr>
        <a:lstStyle/>
        <a:p>
          <a:pPr marL="0" lvl="0" indent="0" algn="ctr" defTabSz="622300">
            <a:lnSpc>
              <a:spcPct val="90000"/>
            </a:lnSpc>
            <a:spcBef>
              <a:spcPct val="0"/>
            </a:spcBef>
            <a:spcAft>
              <a:spcPct val="35000"/>
            </a:spcAft>
            <a:buNone/>
          </a:pPr>
          <a:r>
            <a:rPr lang="en-US" sz="1400" b="1" kern="1200"/>
            <a:t>26,000+ Resources</a:t>
          </a:r>
        </a:p>
      </dsp:txBody>
      <dsp:txXfrm rot="10800000">
        <a:off x="988385" y="576"/>
        <a:ext cx="2344117" cy="706875"/>
      </dsp:txXfrm>
    </dsp:sp>
    <dsp:sp modelId="{4EEAFAA7-2134-4C30-AC88-D0227C4080A3}">
      <dsp:nvSpPr>
        <dsp:cNvPr id="0" name=""/>
        <dsp:cNvSpPr/>
      </dsp:nvSpPr>
      <dsp:spPr>
        <a:xfrm>
          <a:off x="458228" y="576"/>
          <a:ext cx="706875" cy="706875"/>
        </a:xfrm>
        <a:prstGeom prst="ellipse">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8F00698-C91B-41C4-BE72-3BE965C800D4}">
      <dsp:nvSpPr>
        <dsp:cNvPr id="0" name=""/>
        <dsp:cNvSpPr/>
      </dsp:nvSpPr>
      <dsp:spPr>
        <a:xfrm rot="10800000">
          <a:off x="811666" y="918459"/>
          <a:ext cx="2520836" cy="706875"/>
        </a:xfrm>
        <a:prstGeom prst="homePlat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11712" tIns="53340" rIns="99568" bIns="53340" numCol="1" spcCol="1270" anchor="ctr" anchorCtr="0">
          <a:noAutofit/>
        </a:bodyPr>
        <a:lstStyle/>
        <a:p>
          <a:pPr marL="0" lvl="0" indent="0" algn="ctr" defTabSz="622300">
            <a:lnSpc>
              <a:spcPct val="90000"/>
            </a:lnSpc>
            <a:spcBef>
              <a:spcPct val="0"/>
            </a:spcBef>
            <a:spcAft>
              <a:spcPts val="0"/>
            </a:spcAft>
            <a:buClrTx/>
            <a:buSzTx/>
            <a:buFontTx/>
            <a:buNone/>
          </a:pPr>
          <a:r>
            <a:rPr kumimoji="0" lang="en-IN" sz="1400" b="1" i="0" u="none" strike="noStrike" kern="1200" cap="all" spc="0" normalizeH="0" baseline="0" noProof="0">
              <a:ln/>
              <a:effectLst/>
              <a:uLnTx/>
              <a:uFillTx/>
              <a:latin typeface="Ubuntu"/>
              <a:ea typeface="+mn-ea"/>
              <a:cs typeface="+mn-cs"/>
            </a:rPr>
            <a:t>12/15 </a:t>
          </a:r>
          <a:br>
            <a:rPr kumimoji="0" lang="en-IN" sz="1400" b="1" i="0" u="none" strike="noStrike" kern="1200" cap="all" spc="0" normalizeH="0" baseline="0" noProof="0">
              <a:ln/>
              <a:effectLst/>
              <a:uLnTx/>
              <a:uFillTx/>
              <a:latin typeface="Ubuntu"/>
              <a:ea typeface="+mn-ea"/>
              <a:cs typeface="+mn-cs"/>
            </a:rPr>
          </a:br>
          <a:r>
            <a:rPr kumimoji="0" lang="en-IN" sz="1400" b="1" i="0" u="none" strike="noStrike" kern="1200" cap="all" spc="0" normalizeH="0" baseline="0" noProof="0">
              <a:ln/>
              <a:effectLst/>
              <a:uLnTx/>
              <a:uFillTx/>
              <a:latin typeface="Ubuntu"/>
              <a:ea typeface="+mn-ea"/>
              <a:cs typeface="+mn-cs"/>
            </a:rPr>
            <a:t>Top Global Insurer </a:t>
          </a:r>
        </a:p>
        <a:p>
          <a:pPr marL="0" lvl="0" indent="0" algn="ctr" defTabSz="622300">
            <a:lnSpc>
              <a:spcPct val="90000"/>
            </a:lnSpc>
            <a:spcBef>
              <a:spcPct val="0"/>
            </a:spcBef>
            <a:spcAft>
              <a:spcPts val="0"/>
            </a:spcAft>
            <a:buClrTx/>
            <a:buSzTx/>
            <a:buFontTx/>
            <a:buNone/>
          </a:pPr>
          <a:r>
            <a:rPr kumimoji="0" lang="en-IN" sz="1300" b="1" i="0" u="none" strike="noStrike" kern="1200" cap="all" spc="0" normalizeH="0" baseline="0" noProof="0">
              <a:ln/>
              <a:effectLst/>
              <a:uLnTx/>
              <a:uFillTx/>
              <a:latin typeface="Ubuntu"/>
              <a:ea typeface="+mn-ea"/>
              <a:cs typeface="+mn-cs"/>
            </a:rPr>
            <a:t>clients </a:t>
          </a:r>
          <a:endParaRPr lang="en-US" sz="1300" kern="1200"/>
        </a:p>
      </dsp:txBody>
      <dsp:txXfrm rot="10800000">
        <a:off x="988385" y="918459"/>
        <a:ext cx="2344117" cy="706875"/>
      </dsp:txXfrm>
    </dsp:sp>
    <dsp:sp modelId="{78D402F5-5E2A-49AE-848D-A105AA89BC02}">
      <dsp:nvSpPr>
        <dsp:cNvPr id="0" name=""/>
        <dsp:cNvSpPr/>
      </dsp:nvSpPr>
      <dsp:spPr>
        <a:xfrm>
          <a:off x="458228" y="918459"/>
          <a:ext cx="706875" cy="706875"/>
        </a:xfrm>
        <a:prstGeom prst="ellipse">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B11F0A8-04AB-4961-B58C-66AA04CF2080}">
      <dsp:nvSpPr>
        <dsp:cNvPr id="0" name=""/>
        <dsp:cNvSpPr/>
      </dsp:nvSpPr>
      <dsp:spPr>
        <a:xfrm rot="10800000">
          <a:off x="773551" y="1836342"/>
          <a:ext cx="2520836" cy="706875"/>
        </a:xfrm>
        <a:prstGeom prst="homePlat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11712" tIns="45720" rIns="85344" bIns="45720" numCol="1" spcCol="1270" anchor="ctr" anchorCtr="0">
          <a:noAutofit/>
        </a:bodyPr>
        <a:lstStyle/>
        <a:p>
          <a:pPr marL="0" lvl="0" indent="0" algn="ctr" defTabSz="533400">
            <a:lnSpc>
              <a:spcPct val="90000"/>
            </a:lnSpc>
            <a:spcBef>
              <a:spcPct val="0"/>
            </a:spcBef>
            <a:spcAft>
              <a:spcPct val="35000"/>
            </a:spcAft>
            <a:buClrTx/>
            <a:buSzTx/>
            <a:buFontTx/>
            <a:buNone/>
          </a:pPr>
          <a:r>
            <a:rPr kumimoji="0" lang="en-IN" sz="1200" b="1" i="0" u="none" strike="noStrike" kern="1200" cap="all" spc="0" normalizeH="0" baseline="0" noProof="0">
              <a:ln/>
              <a:effectLst/>
              <a:uLnTx/>
              <a:uFillTx/>
              <a:latin typeface="Ubuntu"/>
              <a:ea typeface="+mn-ea"/>
              <a:cs typeface="+mn-cs"/>
            </a:rPr>
            <a:t>P&amp;C | Life &amp; Retirement | Health | Reinsurance</a:t>
          </a:r>
          <a:endParaRPr lang="en-US" sz="1200" kern="1200"/>
        </a:p>
      </dsp:txBody>
      <dsp:txXfrm rot="10800000">
        <a:off x="950270" y="1836342"/>
        <a:ext cx="2344117" cy="706875"/>
      </dsp:txXfrm>
    </dsp:sp>
    <dsp:sp modelId="{9576BD9F-D3D7-44F0-80D3-6926A81A76E3}">
      <dsp:nvSpPr>
        <dsp:cNvPr id="0" name=""/>
        <dsp:cNvSpPr/>
      </dsp:nvSpPr>
      <dsp:spPr>
        <a:xfrm>
          <a:off x="458228" y="1836342"/>
          <a:ext cx="706875" cy="706875"/>
        </a:xfrm>
        <a:prstGeom prst="ellipse">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4A08524-AB8D-4067-9F98-3310FCBA2F3E}">
      <dsp:nvSpPr>
        <dsp:cNvPr id="0" name=""/>
        <dsp:cNvSpPr/>
      </dsp:nvSpPr>
      <dsp:spPr>
        <a:xfrm>
          <a:off x="0" y="0"/>
          <a:ext cx="3468368" cy="484119"/>
        </a:xfrm>
        <a:prstGeom prst="rect">
          <a:avLst/>
        </a:prstGeom>
        <a:solidFill>
          <a:schemeClr val="accent5">
            <a:alpha val="9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a:t>Product &amp; Service Innovation</a:t>
          </a:r>
        </a:p>
      </dsp:txBody>
      <dsp:txXfrm>
        <a:off x="742085" y="0"/>
        <a:ext cx="2726282" cy="484119"/>
      </dsp:txXfrm>
    </dsp:sp>
    <dsp:sp modelId="{C816C822-50CB-4BD9-9608-227E8DF50EB9}">
      <dsp:nvSpPr>
        <dsp:cNvPr id="0" name=""/>
        <dsp:cNvSpPr/>
      </dsp:nvSpPr>
      <dsp:spPr>
        <a:xfrm>
          <a:off x="174435" y="21878"/>
          <a:ext cx="441627" cy="440362"/>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EF9478EC-EFD7-4A3B-9595-CEBB89E92EC4}">
      <dsp:nvSpPr>
        <dsp:cNvPr id="0" name=""/>
        <dsp:cNvSpPr/>
      </dsp:nvSpPr>
      <dsp:spPr>
        <a:xfrm>
          <a:off x="0" y="532531"/>
          <a:ext cx="3468368" cy="484119"/>
        </a:xfrm>
        <a:prstGeom prst="rect">
          <a:avLst/>
        </a:prstGeom>
        <a:solidFill>
          <a:schemeClr val="accent5">
            <a:alpha val="90000"/>
            <a:hueOff val="0"/>
            <a:satOff val="0"/>
            <a:lumOff val="0"/>
            <a:alphaOff val="-13333"/>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a:t>Digital Business Operations</a:t>
          </a:r>
        </a:p>
      </dsp:txBody>
      <dsp:txXfrm>
        <a:off x="742085" y="532531"/>
        <a:ext cx="2726282" cy="484119"/>
      </dsp:txXfrm>
    </dsp:sp>
    <dsp:sp modelId="{DA2598B4-1A36-41E4-9BBC-2E99FA03F253}">
      <dsp:nvSpPr>
        <dsp:cNvPr id="0" name=""/>
        <dsp:cNvSpPr/>
      </dsp:nvSpPr>
      <dsp:spPr>
        <a:xfrm>
          <a:off x="176183" y="541956"/>
          <a:ext cx="438131" cy="465269"/>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l="-3000" r="-3000"/>
          </a:stretch>
        </a:blip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7C41C6EA-3477-4CF0-9312-57AA17E81EAE}">
      <dsp:nvSpPr>
        <dsp:cNvPr id="0" name=""/>
        <dsp:cNvSpPr/>
      </dsp:nvSpPr>
      <dsp:spPr>
        <a:xfrm>
          <a:off x="0" y="1065062"/>
          <a:ext cx="3468368" cy="484119"/>
        </a:xfrm>
        <a:prstGeom prst="rect">
          <a:avLst/>
        </a:prstGeom>
        <a:solidFill>
          <a:schemeClr val="accent5">
            <a:alpha val="90000"/>
            <a:hueOff val="0"/>
            <a:satOff val="0"/>
            <a:lumOff val="0"/>
            <a:alphaOff val="-26667"/>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a:t>Application Management</a:t>
          </a:r>
        </a:p>
      </dsp:txBody>
      <dsp:txXfrm>
        <a:off x="742085" y="1065062"/>
        <a:ext cx="2726282" cy="484119"/>
      </dsp:txXfrm>
    </dsp:sp>
    <dsp:sp modelId="{4187017C-C3E7-4610-BF70-F3E45F5BF65D}">
      <dsp:nvSpPr>
        <dsp:cNvPr id="0" name=""/>
        <dsp:cNvSpPr/>
      </dsp:nvSpPr>
      <dsp:spPr>
        <a:xfrm>
          <a:off x="173328" y="1081993"/>
          <a:ext cx="443840" cy="450258"/>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l="-1000" r="-1000"/>
          </a:stretch>
        </a:blip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408B7AFA-3158-4D13-AE5A-369DDC582317}">
      <dsp:nvSpPr>
        <dsp:cNvPr id="0" name=""/>
        <dsp:cNvSpPr/>
      </dsp:nvSpPr>
      <dsp:spPr>
        <a:xfrm>
          <a:off x="0" y="1597594"/>
          <a:ext cx="3468368" cy="484119"/>
        </a:xfrm>
        <a:prstGeom prst="rect">
          <a:avLst/>
        </a:prstGeom>
        <a:solidFill>
          <a:schemeClr val="accent5">
            <a:alpha val="90000"/>
            <a:hueOff val="0"/>
            <a:satOff val="0"/>
            <a:lumOff val="0"/>
            <a:alpha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a:t>Core Transformation</a:t>
          </a:r>
        </a:p>
      </dsp:txBody>
      <dsp:txXfrm>
        <a:off x="742085" y="1597594"/>
        <a:ext cx="2726282" cy="484119"/>
      </dsp:txXfrm>
    </dsp:sp>
    <dsp:sp modelId="{53EAF660-29C9-4589-8873-71A1B4F08E64}">
      <dsp:nvSpPr>
        <dsp:cNvPr id="0" name=""/>
        <dsp:cNvSpPr/>
      </dsp:nvSpPr>
      <dsp:spPr>
        <a:xfrm>
          <a:off x="175125" y="1617706"/>
          <a:ext cx="440246" cy="443894"/>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4A08524-AB8D-4067-9F98-3310FCBA2F3E}">
      <dsp:nvSpPr>
        <dsp:cNvPr id="0" name=""/>
        <dsp:cNvSpPr/>
      </dsp:nvSpPr>
      <dsp:spPr>
        <a:xfrm>
          <a:off x="0" y="0"/>
          <a:ext cx="3468368" cy="484119"/>
        </a:xfrm>
        <a:prstGeom prst="rect">
          <a:avLst/>
        </a:prstGeom>
        <a:solidFill>
          <a:srgbClr val="0F878A">
            <a:alpha val="90000"/>
            <a:hueOff val="0"/>
            <a:satOff val="0"/>
            <a:lumOff val="0"/>
            <a:alphaOff val="0"/>
          </a:srgb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400050">
            <a:lnSpc>
              <a:spcPct val="90000"/>
            </a:lnSpc>
            <a:spcBef>
              <a:spcPct val="0"/>
            </a:spcBef>
            <a:spcAft>
              <a:spcPct val="35000"/>
            </a:spcAft>
            <a:buNone/>
          </a:pPr>
          <a:r>
            <a:rPr lang="en-US" sz="1400" kern="1200">
              <a:solidFill>
                <a:srgbClr val="FFFFFF"/>
              </a:solidFill>
              <a:latin typeface="Ubuntu"/>
              <a:ea typeface="+mn-ea"/>
              <a:cs typeface="+mn-cs"/>
            </a:rPr>
            <a:t>Digital &amp; Cloud Transformation</a:t>
          </a:r>
        </a:p>
      </dsp:txBody>
      <dsp:txXfrm>
        <a:off x="742085" y="0"/>
        <a:ext cx="2726282" cy="484119"/>
      </dsp:txXfrm>
    </dsp:sp>
    <dsp:sp modelId="{C816C822-50CB-4BD9-9608-227E8DF50EB9}">
      <dsp:nvSpPr>
        <dsp:cNvPr id="0" name=""/>
        <dsp:cNvSpPr/>
      </dsp:nvSpPr>
      <dsp:spPr>
        <a:xfrm>
          <a:off x="184406" y="58779"/>
          <a:ext cx="421684" cy="366559"/>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t="-3000" b="-3000"/>
          </a:stretch>
        </a:blip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74EA2C28-A638-49E2-B4F2-584A375476CF}">
      <dsp:nvSpPr>
        <dsp:cNvPr id="0" name=""/>
        <dsp:cNvSpPr/>
      </dsp:nvSpPr>
      <dsp:spPr>
        <a:xfrm>
          <a:off x="0" y="532531"/>
          <a:ext cx="3468368" cy="484119"/>
        </a:xfrm>
        <a:prstGeom prst="rect">
          <a:avLst/>
        </a:prstGeom>
        <a:solidFill>
          <a:srgbClr val="0F878A">
            <a:alpha val="90000"/>
            <a:hueOff val="0"/>
            <a:satOff val="0"/>
            <a:lumOff val="0"/>
            <a:alphaOff val="-13333"/>
          </a:srgb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400050">
            <a:lnSpc>
              <a:spcPct val="90000"/>
            </a:lnSpc>
            <a:spcBef>
              <a:spcPct val="0"/>
            </a:spcBef>
            <a:spcAft>
              <a:spcPct val="35000"/>
            </a:spcAft>
            <a:buNone/>
          </a:pPr>
          <a:r>
            <a:rPr lang="en-US" sz="1400" kern="1200">
              <a:solidFill>
                <a:srgbClr val="FFFFFF"/>
              </a:solidFill>
              <a:latin typeface="Ubuntu"/>
              <a:ea typeface="+mn-ea"/>
              <a:cs typeface="+mn-cs"/>
            </a:rPr>
            <a:t>Intelligent Automation</a:t>
          </a:r>
        </a:p>
      </dsp:txBody>
      <dsp:txXfrm>
        <a:off x="742085" y="532531"/>
        <a:ext cx="2726282" cy="484119"/>
      </dsp:txXfrm>
    </dsp:sp>
    <dsp:sp modelId="{5FD6B033-9918-452F-8B14-B741F50A76ED}">
      <dsp:nvSpPr>
        <dsp:cNvPr id="0" name=""/>
        <dsp:cNvSpPr/>
      </dsp:nvSpPr>
      <dsp:spPr>
        <a:xfrm>
          <a:off x="194915" y="602889"/>
          <a:ext cx="421684" cy="364425"/>
        </a:xfrm>
        <a:prstGeom prst="rect">
          <a:avLst/>
        </a:prstGeom>
        <a:blipFill>
          <a:blip xmlns:r="http://schemas.openxmlformats.org/officeDocument/2006/relationships" r:embed="rId3">
            <a:extLst>
              <a:ext uri="{96DAC541-7B7A-43D3-8B79-37D633B846F1}">
                <asvg:svgBlip xmlns:asvg="http://schemas.microsoft.com/office/drawing/2016/SVG/main" r:embed="rId4"/>
              </a:ext>
            </a:extLst>
          </a:blip>
          <a:srcRect/>
          <a:stretch>
            <a:fillRect t="-4000" b="-4000"/>
          </a:stretch>
        </a:blip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A1F21A99-438F-4BC3-8765-2E54181C7399}">
      <dsp:nvSpPr>
        <dsp:cNvPr id="0" name=""/>
        <dsp:cNvSpPr/>
      </dsp:nvSpPr>
      <dsp:spPr>
        <a:xfrm>
          <a:off x="0" y="1065062"/>
          <a:ext cx="3468368" cy="484119"/>
        </a:xfrm>
        <a:prstGeom prst="rect">
          <a:avLst/>
        </a:prstGeom>
        <a:solidFill>
          <a:srgbClr val="0F878A">
            <a:alpha val="90000"/>
            <a:hueOff val="0"/>
            <a:satOff val="0"/>
            <a:lumOff val="0"/>
            <a:alphaOff val="-26667"/>
          </a:srgb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a:solidFill>
                <a:srgbClr val="FFFFFF"/>
              </a:solidFill>
              <a:latin typeface="Ubuntu"/>
              <a:ea typeface="+mn-ea"/>
              <a:cs typeface="+mn-cs"/>
            </a:rPr>
            <a:t>Quality Engineering &amp; Assurance</a:t>
          </a:r>
          <a:endParaRPr lang="en-US" sz="1400" kern="1200">
            <a:solidFill>
              <a:schemeClr val="bg1"/>
            </a:solidFill>
            <a:latin typeface="Ubuntu"/>
            <a:ea typeface="+mn-ea"/>
            <a:cs typeface="+mn-cs"/>
          </a:endParaRPr>
        </a:p>
      </dsp:txBody>
      <dsp:txXfrm>
        <a:off x="742085" y="1065062"/>
        <a:ext cx="2726282" cy="484119"/>
      </dsp:txXfrm>
    </dsp:sp>
    <dsp:sp modelId="{EEB75BBC-25BA-4390-8568-7151B2A1B1A7}">
      <dsp:nvSpPr>
        <dsp:cNvPr id="0" name=""/>
        <dsp:cNvSpPr/>
      </dsp:nvSpPr>
      <dsp:spPr>
        <a:xfrm>
          <a:off x="185644" y="1121414"/>
          <a:ext cx="356152" cy="371416"/>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t="-4000" b="-4000"/>
          </a:stretch>
        </a:blip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8045A5EA-36EB-4786-A3E7-D60FA3D011BE}">
      <dsp:nvSpPr>
        <dsp:cNvPr id="0" name=""/>
        <dsp:cNvSpPr/>
      </dsp:nvSpPr>
      <dsp:spPr>
        <a:xfrm>
          <a:off x="0" y="1597594"/>
          <a:ext cx="3468368" cy="484119"/>
        </a:xfrm>
        <a:prstGeom prst="rect">
          <a:avLst/>
        </a:prstGeom>
        <a:solidFill>
          <a:srgbClr val="0F878A">
            <a:alpha val="90000"/>
            <a:hueOff val="0"/>
            <a:satOff val="0"/>
            <a:lumOff val="0"/>
            <a:alphaOff val="-40000"/>
          </a:srgb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400050">
            <a:lnSpc>
              <a:spcPct val="90000"/>
            </a:lnSpc>
            <a:spcBef>
              <a:spcPct val="0"/>
            </a:spcBef>
            <a:spcAft>
              <a:spcPct val="35000"/>
            </a:spcAft>
            <a:buNone/>
          </a:pPr>
          <a:r>
            <a:rPr lang="en-US" sz="1400" kern="1200">
              <a:solidFill>
                <a:srgbClr val="FFFFFF"/>
              </a:solidFill>
              <a:latin typeface="Ubuntu"/>
              <a:ea typeface="+mn-ea"/>
              <a:cs typeface="+mn-cs"/>
            </a:rPr>
            <a:t>Advanced Data Analytics &amp; AI</a:t>
          </a:r>
        </a:p>
      </dsp:txBody>
      <dsp:txXfrm>
        <a:off x="742085" y="1597594"/>
        <a:ext cx="2726282" cy="484119"/>
      </dsp:txXfrm>
    </dsp:sp>
    <dsp:sp modelId="{B2858469-F865-4FBF-AE3B-BDB24A49F64A}">
      <dsp:nvSpPr>
        <dsp:cNvPr id="0" name=""/>
        <dsp:cNvSpPr/>
      </dsp:nvSpPr>
      <dsp:spPr>
        <a:xfrm>
          <a:off x="184406" y="1637489"/>
          <a:ext cx="421684" cy="404328"/>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t="-4000" b="-4000"/>
          </a:stretch>
        </a:blip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PictureStrips">
  <dgm:title val=""/>
  <dgm:desc val=""/>
  <dgm:catLst>
    <dgm:cat type="list" pri="12500"/>
    <dgm:cat type="picture" pri="13000"/>
    <dgm:cat type="pictureconvert" pri="13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40" srcId="0" destId="10" srcOrd="0" destOrd="0"/>
        <dgm:cxn modelId="50" srcId="0" destId="20" srcOrd="1" destOrd="0"/>
        <dgm:cxn modelId="60" srcId="0" destId="30" srcOrd="2" destOrd="0"/>
        <dgm:cxn modelId="70" srcId="0" destId="40" srcOrd="2" destOrd="0"/>
      </dgm:cxnLst>
      <dgm:bg/>
      <dgm:whole/>
    </dgm:dataModel>
  </dgm:clrData>
  <dgm:layoutNode name="Name0">
    <dgm:varLst>
      <dgm:dir/>
      <dgm:resizeHandles val="exact"/>
    </dgm:varLst>
    <dgm:choose name="Name1">
      <dgm:if name="Name2" func="var" arg="dir" op="equ" val="norm">
        <dgm:alg type="snake">
          <dgm:param type="off" val="ctr"/>
        </dgm:alg>
      </dgm:if>
      <dgm:else name="Name3">
        <dgm:alg type="snake">
          <dgm:param type="off" val="ctr"/>
          <dgm:param type="grDir" val="tR"/>
        </dgm:alg>
      </dgm:else>
    </dgm:choose>
    <dgm:shape xmlns:r="http://schemas.openxmlformats.org/officeDocument/2006/relationships" r:blip="">
      <dgm:adjLst/>
    </dgm:shape>
    <dgm:constrLst>
      <dgm:constr type="primFontSz" for="des" ptType="node" op="equ" val="65"/>
      <dgm:constr type="w" for="ch" forName="composite" refType="w"/>
      <dgm:constr type="h" for="ch" forName="composite" refType="h"/>
      <dgm:constr type="sp" refType="h" refFor="ch" refForName="composite" op="equ" fact="0.1"/>
      <dgm:constr type="h" for="ch" forName="sibTrans" refType="h" refFor="ch" refForName="composite" op="equ" fact="0.1"/>
      <dgm:constr type="w" for="ch" forName="sibTrans" refType="h" refFor="ch" refForName="sibTrans" op="equ"/>
    </dgm:constrLst>
    <dgm:forEach name="nodesForEach" axis="ch" ptType="node">
      <dgm:layoutNode name="composite">
        <dgm:alg type="composite">
          <dgm:param type="ar" val="3"/>
        </dgm:alg>
        <dgm:shape xmlns:r="http://schemas.openxmlformats.org/officeDocument/2006/relationships" r:blip="">
          <dgm:adjLst/>
        </dgm:shape>
        <dgm:choose name="Name4">
          <dgm:if name="Name5" func="var" arg="dir" op="equ" val="norm">
            <dgm:constrLst>
              <dgm:constr type="l" for="ch" forName="rect1" refType="w" fact="0.04"/>
              <dgm:constr type="t" for="ch" forName="rect1" refType="h" fact="0.13"/>
              <dgm:constr type="w" for="ch" forName="rect1" refType="w" fact="0.96"/>
              <dgm:constr type="h" for="ch" forName="rect1" refType="h" fact="0.9"/>
              <dgm:constr type="l" for="ch" forName="rect2" refType="w" fact="0"/>
              <dgm:constr type="t" for="ch" forName="rect2" refType="h" fact="0"/>
              <dgm:constr type="w" for="ch" forName="rect2" refType="w" fact="0.21"/>
              <dgm:constr type="h" for="ch" forName="rect2" refType="w" fact="0.315"/>
            </dgm:constrLst>
          </dgm:if>
          <dgm:else name="Name6">
            <dgm:constrLst>
              <dgm:constr type="l" for="ch" forName="rect1" refType="w" fact="0"/>
              <dgm:constr type="t" for="ch" forName="rect1" refType="h" fact="0.13"/>
              <dgm:constr type="w" for="ch" forName="rect1" refType="w" fact="0.96"/>
              <dgm:constr type="h" for="ch" forName="rect1" refType="h" fact="0.9"/>
              <dgm:constr type="l" for="ch" forName="rect2" refType="w" fact="0.79"/>
              <dgm:constr type="t" for="ch" forName="rect2" refType="h" fact="0"/>
              <dgm:constr type="w" for="ch" forName="rect2" refType="w" fact="0.21"/>
              <dgm:constr type="h" for="ch" forName="rect2" refType="w" fact="0.315"/>
            </dgm:constrLst>
          </dgm:else>
        </dgm:choose>
        <dgm:layoutNode name="rect1" styleLbl="trAlignAcc1">
          <dgm:varLst>
            <dgm:bulletEnabled val="1"/>
          </dgm:varLst>
          <dgm:alg type="tx">
            <dgm:param type="parTxLTRAlign" val="l"/>
          </dgm:alg>
          <dgm:shape xmlns:r="http://schemas.openxmlformats.org/officeDocument/2006/relationships" type="rect" r:blip="">
            <dgm:adjLst/>
          </dgm:shape>
          <dgm:presOf axis="desOrSelf" ptType="node"/>
          <dgm:choose name="Name7">
            <dgm:if name="Name8" func="var" arg="dir" op="equ" val="norm">
              <dgm:constrLst>
                <dgm:constr type="lMarg" refType="w" fact="0.6"/>
                <dgm:constr type="rMarg" refType="primFontSz" fact="0.3"/>
                <dgm:constr type="tMarg" refType="primFontSz" fact="0.3"/>
                <dgm:constr type="bMarg" refType="primFontSz" fact="0.3"/>
              </dgm:constrLst>
            </dgm:if>
            <dgm:else name="Name9">
              <dgm:constrLst>
                <dgm:constr type="lMarg" refType="primFontSz" fact="0.3"/>
                <dgm:constr type="rMarg" refType="w" fact="0.6"/>
                <dgm:constr type="tMarg" refType="primFontSz" fact="0.3"/>
                <dgm:constr type="bMarg" refType="primFontSz" fact="0.3"/>
              </dgm:constrLst>
            </dgm:else>
          </dgm:choose>
          <dgm:ruleLst>
            <dgm:rule type="primFontSz" val="5" fact="NaN" max="NaN"/>
          </dgm:ruleLst>
        </dgm:layoutNode>
        <dgm:layoutNode name="rect2" styleLbl="fgImgPlace1">
          <dgm:alg type="sp"/>
          <dgm:shape xmlns:r="http://schemas.openxmlformats.org/officeDocument/2006/relationships" type="rect" r:blip="" blipPhldr="1">
            <dgm:adjLst/>
          </dgm:shape>
          <dgm:presOf/>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MX"/>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9044D32-DC75-4162-9734-D7E074DED37E}" type="datetimeFigureOut">
              <a:rPr lang="es-MX" smtClean="0"/>
              <a:t>30/06/2023</a:t>
            </a:fld>
            <a:endParaRPr lang="es-MX"/>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MX"/>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MX"/>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1BDCB1E-C3DF-46FB-9942-24D065FAB376}" type="slidenum">
              <a:rPr lang="es-MX" smtClean="0"/>
              <a:t>‹#›</a:t>
            </a:fld>
            <a:endParaRPr lang="es-MX"/>
          </a:p>
        </p:txBody>
      </p:sp>
    </p:spTree>
    <p:extLst>
      <p:ext uri="{BB962C8B-B14F-4D97-AF65-F5344CB8AC3E}">
        <p14:creationId xmlns:p14="http://schemas.microsoft.com/office/powerpoint/2010/main" val="29075373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1FC663-0DB0-4016-A3F2-87A99592D2EE}"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66907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Ubuntu"/>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pt-BR" sz="900" b="0" i="0" u="none" strike="noStrike" kern="1200" cap="none" spc="0" normalizeH="0" baseline="0" noProof="0">
              <a:ln>
                <a:noFill/>
              </a:ln>
              <a:solidFill>
                <a:prstClr val="black"/>
              </a:solidFill>
              <a:effectLst/>
              <a:uLnTx/>
              <a:uFillTx/>
              <a:latin typeface="Ubuntu"/>
              <a:ea typeface="+mn-ea"/>
              <a:cs typeface="+mn-cs"/>
            </a:endParaRPr>
          </a:p>
        </p:txBody>
      </p:sp>
    </p:spTree>
    <p:extLst>
      <p:ext uri="{BB962C8B-B14F-4D97-AF65-F5344CB8AC3E}">
        <p14:creationId xmlns:p14="http://schemas.microsoft.com/office/powerpoint/2010/main" val="11171516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Zurich NA – Innoveo		LOB: A&amp;H</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309553-62DB-4AD0-9407-FBBD926BA2D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941084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Zurich </a:t>
            </a:r>
            <a:r>
              <a:rPr lang="en-IN" err="1"/>
              <a:t>Aus</a:t>
            </a:r>
            <a:r>
              <a:rPr lang="en-US"/>
              <a:t>	          Date: 			Point-of-contact: </a:t>
            </a:r>
            <a:endParaRPr lang="en-IN"/>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3C1405-3CBB-4EA4-951E-3A01F4AAFE6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349701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lient: Prudential LLC (Singapore) 		Date: Dec-2022		Point-of-contact: Gulveen Kaur</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3C1405-3CBB-4EA4-951E-3A01F4AAFE6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951900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lient: Combined (CHUBB) 	          Date: 2020		Point-of-contact: Aarti Rao</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3C1405-3CBB-4EA4-951E-3A01F4AAFE6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010125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pt-B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0538642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4.xml"/><Relationship Id="rId1" Type="http://schemas.openxmlformats.org/officeDocument/2006/relationships/tags" Target="../tags/tag11.xml"/><Relationship Id="rId4" Type="http://schemas.openxmlformats.org/officeDocument/2006/relationships/image" Target="../media/image13.emf"/></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4.xml"/><Relationship Id="rId1" Type="http://schemas.openxmlformats.org/officeDocument/2006/relationships/tags" Target="../tags/tag12.xml"/><Relationship Id="rId4" Type="http://schemas.openxmlformats.org/officeDocument/2006/relationships/image" Target="../media/image13.emf"/></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4.xml"/><Relationship Id="rId1" Type="http://schemas.openxmlformats.org/officeDocument/2006/relationships/tags" Target="../tags/tag13.xml"/><Relationship Id="rId4" Type="http://schemas.openxmlformats.org/officeDocument/2006/relationships/image" Target="../media/image13.emf"/></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4.xml"/><Relationship Id="rId1" Type="http://schemas.openxmlformats.org/officeDocument/2006/relationships/tags" Target="../tags/tag14.xml"/><Relationship Id="rId6" Type="http://schemas.openxmlformats.org/officeDocument/2006/relationships/image" Target="../media/image28.png"/><Relationship Id="rId5" Type="http://schemas.openxmlformats.org/officeDocument/2006/relationships/image" Target="../media/image27.jpeg"/><Relationship Id="rId4" Type="http://schemas.openxmlformats.org/officeDocument/2006/relationships/image" Target="../media/image13.emf"/></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hyperlink" Target="http://www.facebook.com/capgemini" TargetMode="External"/><Relationship Id="rId7" Type="http://schemas.openxmlformats.org/officeDocument/2006/relationships/hyperlink" Target="http://www.slideshare.net/capgemini" TargetMode="External"/><Relationship Id="rId12"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2.xml"/><Relationship Id="rId6" Type="http://schemas.openxmlformats.org/officeDocument/2006/relationships/image" Target="../media/image6.png"/><Relationship Id="rId11" Type="http://schemas.openxmlformats.org/officeDocument/2006/relationships/hyperlink" Target="http://www.youtube.com/capgeminimedia" TargetMode="External"/><Relationship Id="rId5" Type="http://schemas.openxmlformats.org/officeDocument/2006/relationships/hyperlink" Target="http://www.linkedin.com/company/capgemini" TargetMode="External"/><Relationship Id="rId10" Type="http://schemas.openxmlformats.org/officeDocument/2006/relationships/image" Target="../media/image8.png"/><Relationship Id="rId4" Type="http://schemas.openxmlformats.org/officeDocument/2006/relationships/image" Target="../media/image5.png"/><Relationship Id="rId9" Type="http://schemas.openxmlformats.org/officeDocument/2006/relationships/hyperlink" Target="http://www.twitter.com/capgemini" TargetMode="Externa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hyperlink" Target="http://www.facebook.com/capgemini" TargetMode="External"/><Relationship Id="rId7" Type="http://schemas.openxmlformats.org/officeDocument/2006/relationships/hyperlink" Target="http://www.slideshare.net/capgemini" TargetMode="External"/><Relationship Id="rId12"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Master" Target="../slideMasters/slideMaster2.xml"/><Relationship Id="rId6" Type="http://schemas.openxmlformats.org/officeDocument/2006/relationships/image" Target="../media/image6.png"/><Relationship Id="rId11" Type="http://schemas.openxmlformats.org/officeDocument/2006/relationships/hyperlink" Target="http://www.youtube.com/capgeminimedia" TargetMode="External"/><Relationship Id="rId5" Type="http://schemas.openxmlformats.org/officeDocument/2006/relationships/hyperlink" Target="http://www.linkedin.com/company/capgemini" TargetMode="External"/><Relationship Id="rId10" Type="http://schemas.openxmlformats.org/officeDocument/2006/relationships/image" Target="../media/image8.png"/><Relationship Id="rId4" Type="http://schemas.openxmlformats.org/officeDocument/2006/relationships/image" Target="../media/image5.png"/><Relationship Id="rId9" Type="http://schemas.openxmlformats.org/officeDocument/2006/relationships/hyperlink" Target="http://www.twitter.com/capgemini" TargetMode="External"/></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4" Type="http://schemas.openxmlformats.org/officeDocument/2006/relationships/image" Target="../media/image13.emf"/></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hyperlink" Target="http://www.facebook.com/capgemini" TargetMode="External"/><Relationship Id="rId7" Type="http://schemas.openxmlformats.org/officeDocument/2006/relationships/hyperlink" Target="http://www.slideshare.net/capgemini" TargetMode="External"/><Relationship Id="rId12"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Master" Target="../slideMasters/slideMaster3.xml"/><Relationship Id="rId6" Type="http://schemas.openxmlformats.org/officeDocument/2006/relationships/image" Target="../media/image6.png"/><Relationship Id="rId11" Type="http://schemas.openxmlformats.org/officeDocument/2006/relationships/hyperlink" Target="http://www.youtube.com/capgeminimedia" TargetMode="External"/><Relationship Id="rId5" Type="http://schemas.openxmlformats.org/officeDocument/2006/relationships/hyperlink" Target="http://www.linkedin.com/company/capgemini" TargetMode="External"/><Relationship Id="rId10" Type="http://schemas.openxmlformats.org/officeDocument/2006/relationships/image" Target="../media/image8.png"/><Relationship Id="rId4" Type="http://schemas.openxmlformats.org/officeDocument/2006/relationships/image" Target="../media/image5.png"/><Relationship Id="rId9" Type="http://schemas.openxmlformats.org/officeDocument/2006/relationships/hyperlink" Target="http://www.twitter.com/capgemini" TargetMode="External"/></Relationships>
</file>

<file path=ppt/slideLayouts/_rels/slideLayout5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hyperlink" Target="http://www.facebook.com/capgemini" TargetMode="External"/><Relationship Id="rId7" Type="http://schemas.openxmlformats.org/officeDocument/2006/relationships/hyperlink" Target="http://www.slideshare.net/capgemini" TargetMode="External"/><Relationship Id="rId12"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Master" Target="../slideMasters/slideMaster3.xml"/><Relationship Id="rId6" Type="http://schemas.openxmlformats.org/officeDocument/2006/relationships/image" Target="../media/image6.png"/><Relationship Id="rId11" Type="http://schemas.openxmlformats.org/officeDocument/2006/relationships/hyperlink" Target="http://www.youtube.com/capgeminimedia" TargetMode="External"/><Relationship Id="rId5" Type="http://schemas.openxmlformats.org/officeDocument/2006/relationships/hyperlink" Target="http://www.linkedin.com/company/capgemini" TargetMode="External"/><Relationship Id="rId10" Type="http://schemas.openxmlformats.org/officeDocument/2006/relationships/image" Target="../media/image8.png"/><Relationship Id="rId4" Type="http://schemas.openxmlformats.org/officeDocument/2006/relationships/image" Target="../media/image5.png"/><Relationship Id="rId9" Type="http://schemas.openxmlformats.org/officeDocument/2006/relationships/hyperlink" Target="http://www.twitter.com/capgemini" TargetMode="External"/></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2.xml"/><Relationship Id="rId4" Type="http://schemas.openxmlformats.org/officeDocument/2006/relationships/image" Target="../media/image13.emf"/></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hyperlink" Target="http://www.facebook.com/capgemini" TargetMode="External"/><Relationship Id="rId7" Type="http://schemas.openxmlformats.org/officeDocument/2006/relationships/hyperlink" Target="http://www.slideshare.net/capgemini" TargetMode="External"/><Relationship Id="rId12"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6.png"/><Relationship Id="rId11" Type="http://schemas.openxmlformats.org/officeDocument/2006/relationships/hyperlink" Target="http://www.youtube.com/capgeminimedia" TargetMode="External"/><Relationship Id="rId5" Type="http://schemas.openxmlformats.org/officeDocument/2006/relationships/hyperlink" Target="http://www.linkedin.com/company/capgemini" TargetMode="External"/><Relationship Id="rId10" Type="http://schemas.openxmlformats.org/officeDocument/2006/relationships/image" Target="../media/image8.png"/><Relationship Id="rId4" Type="http://schemas.openxmlformats.org/officeDocument/2006/relationships/image" Target="../media/image5.png"/><Relationship Id="rId9" Type="http://schemas.openxmlformats.org/officeDocument/2006/relationships/hyperlink" Target="http://www.twitter.com/capgemini" TargetMode="Externa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3.xml"/><Relationship Id="rId1" Type="http://schemas.openxmlformats.org/officeDocument/2006/relationships/tags" Target="../tags/tag3.xml"/><Relationship Id="rId4" Type="http://schemas.openxmlformats.org/officeDocument/2006/relationships/image" Target="../media/image13.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4.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16.svg"/></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17.emf"/><Relationship Id="rId5" Type="http://schemas.openxmlformats.org/officeDocument/2006/relationships/oleObject" Target="../embeddings/oleObject5.bin"/><Relationship Id="rId4"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slideMaster" Target="../slideMasters/slideMaster3.xml"/><Relationship Id="rId1" Type="http://schemas.openxmlformats.org/officeDocument/2006/relationships/tags" Target="../tags/tag8.xml"/><Relationship Id="rId5" Type="http://schemas.openxmlformats.org/officeDocument/2006/relationships/image" Target="../media/image13.emf"/><Relationship Id="rId4" Type="http://schemas.openxmlformats.org/officeDocument/2006/relationships/oleObject" Target="../embeddings/oleObject6.bin"/></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slideMaster" Target="../slideMasters/slideMaster3.xml"/><Relationship Id="rId1" Type="http://schemas.openxmlformats.org/officeDocument/2006/relationships/tags" Target="../tags/tag9.xml"/><Relationship Id="rId6" Type="http://schemas.openxmlformats.org/officeDocument/2006/relationships/image" Target="../media/image20.png"/><Relationship Id="rId5" Type="http://schemas.openxmlformats.org/officeDocument/2006/relationships/image" Target="../media/image13.emf"/><Relationship Id="rId4" Type="http://schemas.openxmlformats.org/officeDocument/2006/relationships/oleObject" Target="../embeddings/oleObject7.bin"/></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10.xml"/><Relationship Id="rId4" Type="http://schemas.openxmlformats.org/officeDocument/2006/relationships/image" Target="../media/image13.emf"/></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hyperlink" Target="http://www.facebook.com/capgemini" TargetMode="External"/><Relationship Id="rId7" Type="http://schemas.openxmlformats.org/officeDocument/2006/relationships/hyperlink" Target="http://www.slideshare.net/capgemini" TargetMode="External"/><Relationship Id="rId12"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1.xml"/><Relationship Id="rId6" Type="http://schemas.openxmlformats.org/officeDocument/2006/relationships/image" Target="../media/image6.png"/><Relationship Id="rId11" Type="http://schemas.openxmlformats.org/officeDocument/2006/relationships/hyperlink" Target="http://www.youtube.com/capgeminimedia" TargetMode="External"/><Relationship Id="rId5" Type="http://schemas.openxmlformats.org/officeDocument/2006/relationships/hyperlink" Target="http://www.linkedin.com/company/capgemini" TargetMode="External"/><Relationship Id="rId10" Type="http://schemas.openxmlformats.org/officeDocument/2006/relationships/image" Target="../media/image8.png"/><Relationship Id="rId4" Type="http://schemas.openxmlformats.org/officeDocument/2006/relationships/image" Target="../media/image5.png"/><Relationship Id="rId9" Type="http://schemas.openxmlformats.org/officeDocument/2006/relationships/hyperlink" Target="http://www.twitter.com/capgemini" TargetMode="Externa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1.emf"/><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6.png"/><Relationship Id="rId7" Type="http://schemas.openxmlformats.org/officeDocument/2006/relationships/image" Target="../media/image8.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5.png"/><Relationship Id="rId5" Type="http://schemas.openxmlformats.org/officeDocument/2006/relationships/image" Target="../media/image7.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9.png"/></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8" Type="http://schemas.openxmlformats.org/officeDocument/2006/relationships/hyperlink" Target="http://www.slideshare.net/capgemini" TargetMode="External"/><Relationship Id="rId13" Type="http://schemas.openxmlformats.org/officeDocument/2006/relationships/image" Target="../media/image9.png"/><Relationship Id="rId3" Type="http://schemas.openxmlformats.org/officeDocument/2006/relationships/image" Target="../media/image12.png"/><Relationship Id="rId7" Type="http://schemas.openxmlformats.org/officeDocument/2006/relationships/image" Target="../media/image6.png"/><Relationship Id="rId12" Type="http://schemas.openxmlformats.org/officeDocument/2006/relationships/hyperlink" Target="http://www.youtube.com/capgeminimedia" TargetMode="External"/><Relationship Id="rId2" Type="http://schemas.openxmlformats.org/officeDocument/2006/relationships/image" Target="../media/image22.png"/><Relationship Id="rId1" Type="http://schemas.openxmlformats.org/officeDocument/2006/relationships/slideMaster" Target="../slideMasters/slideMaster4.xml"/><Relationship Id="rId6" Type="http://schemas.openxmlformats.org/officeDocument/2006/relationships/hyperlink" Target="http://www.linkedin.com/company/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twitter.com/capgemini" TargetMode="External"/><Relationship Id="rId4" Type="http://schemas.openxmlformats.org/officeDocument/2006/relationships/hyperlink" Target="http://www.facebook.com/capgemini" TargetMode="External"/><Relationship Id="rId9" Type="http://schemas.openxmlformats.org/officeDocument/2006/relationships/image" Target="../media/image7.png"/></Relationships>
</file>

<file path=ppt/slideLayouts/_rels/slideLayout92.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image" Target="../media/image22.png"/><Relationship Id="rId3" Type="http://schemas.openxmlformats.org/officeDocument/2006/relationships/hyperlink" Target="http://www.facebook.com/capgemini" TargetMode="External"/><Relationship Id="rId7" Type="http://schemas.openxmlformats.org/officeDocument/2006/relationships/hyperlink" Target="http://www.slideshare.net/capgemini" TargetMode="External"/><Relationship Id="rId12"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Master" Target="../slideMasters/slideMaster4.xml"/><Relationship Id="rId6" Type="http://schemas.openxmlformats.org/officeDocument/2006/relationships/image" Target="../media/image6.png"/><Relationship Id="rId11" Type="http://schemas.openxmlformats.org/officeDocument/2006/relationships/hyperlink" Target="http://www.youtube.com/capgeminimedia" TargetMode="External"/><Relationship Id="rId5" Type="http://schemas.openxmlformats.org/officeDocument/2006/relationships/hyperlink" Target="http://www.linkedin.com/company/capgemini" TargetMode="External"/><Relationship Id="rId10" Type="http://schemas.openxmlformats.org/officeDocument/2006/relationships/image" Target="../media/image8.png"/><Relationship Id="rId4" Type="http://schemas.openxmlformats.org/officeDocument/2006/relationships/image" Target="../media/image5.png"/><Relationship Id="rId9" Type="http://schemas.openxmlformats.org/officeDocument/2006/relationships/hyperlink" Target="http://www.twitter.com/capgemini" TargetMode="Externa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24.png"/><Relationship Id="rId3" Type="http://schemas.openxmlformats.org/officeDocument/2006/relationships/image" Target="../media/image6.png"/><Relationship Id="rId7" Type="http://schemas.openxmlformats.org/officeDocument/2006/relationships/image" Target="../media/image8.png"/><Relationship Id="rId12" Type="http://schemas.openxmlformats.org/officeDocument/2006/relationships/image" Target="../media/image12.png"/><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5.png"/><Relationship Id="rId5" Type="http://schemas.openxmlformats.org/officeDocument/2006/relationships/image" Target="../media/image7.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9.png"/><Relationship Id="rId14" Type="http://schemas.openxmlformats.org/officeDocument/2006/relationships/image" Target="../media/image25.svg"/></Relationships>
</file>

<file path=ppt/slideLayouts/_rels/slideLayout97.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24.png"/><Relationship Id="rId3" Type="http://schemas.openxmlformats.org/officeDocument/2006/relationships/hyperlink" Target="http://www.linkedin.com/company/capgemini" TargetMode="External"/><Relationship Id="rId7" Type="http://schemas.openxmlformats.org/officeDocument/2006/relationships/hyperlink" Target="http://www.twitter.com/capgemini" TargetMode="External"/><Relationship Id="rId12" Type="http://schemas.openxmlformats.org/officeDocument/2006/relationships/image" Target="../media/image5.png"/><Relationship Id="rId2" Type="http://schemas.openxmlformats.org/officeDocument/2006/relationships/image" Target="../media/image12.png"/><Relationship Id="rId1" Type="http://schemas.openxmlformats.org/officeDocument/2006/relationships/slideMaster" Target="../slideMasters/slideMaster4.xml"/><Relationship Id="rId6" Type="http://schemas.openxmlformats.org/officeDocument/2006/relationships/image" Target="../media/image7.png"/><Relationship Id="rId11" Type="http://schemas.openxmlformats.org/officeDocument/2006/relationships/hyperlink" Target="http://www.facebook.com/capgemini" TargetMode="External"/><Relationship Id="rId5" Type="http://schemas.openxmlformats.org/officeDocument/2006/relationships/hyperlink" Target="http://www.slideshare.net/capgemini" TargetMode="External"/><Relationship Id="rId10" Type="http://schemas.openxmlformats.org/officeDocument/2006/relationships/image" Target="../media/image9.png"/><Relationship Id="rId4" Type="http://schemas.openxmlformats.org/officeDocument/2006/relationships/image" Target="../media/image6.png"/><Relationship Id="rId9" Type="http://schemas.openxmlformats.org/officeDocument/2006/relationships/hyperlink" Target="http://www.youtube.com/capgeminimedia" TargetMode="External"/><Relationship Id="rId14" Type="http://schemas.openxmlformats.org/officeDocument/2006/relationships/image" Target="../media/image25.svg"/></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1">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userDrawn="1"/>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grpSp>
        <p:nvGrpSpPr>
          <p:cNvPr id="7" name="Group 6">
            <a:extLst>
              <a:ext uri="{FF2B5EF4-FFF2-40B4-BE49-F238E27FC236}">
                <a16:creationId xmlns:a16="http://schemas.microsoft.com/office/drawing/2014/main" id="{8EDD86A9-A101-4431-BC7F-D7A613B745EB}"/>
              </a:ext>
            </a:extLst>
          </p:cNvPr>
          <p:cNvGrpSpPr>
            <a:grpSpLocks noChangeAspect="1"/>
          </p:cNvGrpSpPr>
          <p:nvPr userDrawn="1"/>
        </p:nvGrpSpPr>
        <p:grpSpPr>
          <a:xfrm>
            <a:off x="9422540" y="611982"/>
            <a:ext cx="2267015" cy="509586"/>
            <a:chOff x="9550400" y="612775"/>
            <a:chExt cx="2231297" cy="501650"/>
          </a:xfrm>
        </p:grpSpPr>
        <p:sp>
          <p:nvSpPr>
            <p:cNvPr id="8" name="Freeform: Shape 7">
              <a:extLst>
                <a:ext uri="{FF2B5EF4-FFF2-40B4-BE49-F238E27FC236}">
                  <a16:creationId xmlns:a16="http://schemas.microsoft.com/office/drawing/2014/main" id="{92E5232F-44F9-4DA7-8CAF-37E7E772B19E}"/>
                </a:ext>
              </a:extLst>
            </p:cNvPr>
            <p:cNvSpPr/>
            <p:nvPr/>
          </p:nvSpPr>
          <p:spPr>
            <a:xfrm>
              <a:off x="11517270" y="764033"/>
              <a:ext cx="261161" cy="212194"/>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9" name="Freeform: Shape 8">
              <a:extLst>
                <a:ext uri="{FF2B5EF4-FFF2-40B4-BE49-F238E27FC236}">
                  <a16:creationId xmlns:a16="http://schemas.microsoft.com/office/drawing/2014/main" id="{ED6443D4-9252-4F48-B3B1-DE1F07A5D421}"/>
                </a:ext>
              </a:extLst>
            </p:cNvPr>
            <p:cNvSpPr/>
            <p:nvPr/>
          </p:nvSpPr>
          <p:spPr>
            <a:xfrm>
              <a:off x="9550400" y="619305"/>
              <a:ext cx="1811806" cy="495120"/>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dirty="0"/>
            </a:p>
          </p:txBody>
        </p:sp>
        <p:sp>
          <p:nvSpPr>
            <p:cNvPr id="10" name="Freeform: Shape 9">
              <a:extLst>
                <a:ext uri="{FF2B5EF4-FFF2-40B4-BE49-F238E27FC236}">
                  <a16:creationId xmlns:a16="http://schemas.microsoft.com/office/drawing/2014/main" id="{00D6E549-1EDB-4087-A87E-246AD0B86307}"/>
                </a:ext>
              </a:extLst>
            </p:cNvPr>
            <p:cNvSpPr/>
            <p:nvPr/>
          </p:nvSpPr>
          <p:spPr>
            <a:xfrm>
              <a:off x="10915493" y="643771"/>
              <a:ext cx="54409" cy="59850"/>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1" name="Freeform: Shape 10">
              <a:extLst>
                <a:ext uri="{FF2B5EF4-FFF2-40B4-BE49-F238E27FC236}">
                  <a16:creationId xmlns:a16="http://schemas.microsoft.com/office/drawing/2014/main" id="{9B59D2B6-7CA0-4DD1-ACF9-FE9B371E6A4B}"/>
                </a:ext>
              </a:extLst>
            </p:cNvPr>
            <p:cNvSpPr/>
            <p:nvPr/>
          </p:nvSpPr>
          <p:spPr>
            <a:xfrm>
              <a:off x="11270254" y="654106"/>
              <a:ext cx="54409" cy="54409"/>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2" name="Freeform: Shape 11">
              <a:extLst>
                <a:ext uri="{FF2B5EF4-FFF2-40B4-BE49-F238E27FC236}">
                  <a16:creationId xmlns:a16="http://schemas.microsoft.com/office/drawing/2014/main" id="{D752C13A-0707-4DB7-BEE5-11C70CC4104C}"/>
                </a:ext>
              </a:extLst>
            </p:cNvPr>
            <p:cNvSpPr/>
            <p:nvPr/>
          </p:nvSpPr>
          <p:spPr>
            <a:xfrm>
              <a:off x="11384515" y="612775"/>
              <a:ext cx="397182" cy="331893"/>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Tree>
    <p:extLst>
      <p:ext uri="{BB962C8B-B14F-4D97-AF65-F5344CB8AC3E}">
        <p14:creationId xmlns:p14="http://schemas.microsoft.com/office/powerpoint/2010/main" val="3834202256"/>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 uri="{C183D7F6-B498-43B3-948B-1728B52AA6E4}">
                <adec:decorative xmlns:adec="http://schemas.microsoft.com/office/drawing/2017/decorative" val="1"/>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edit alt text and send </a:t>
            </a:r>
            <a:r>
              <a:rPr lang="de-DE" err="1"/>
              <a:t>to</a:t>
            </a:r>
            <a:r>
              <a:rPr lang="de-DE"/>
              <a:t> back</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grpSp>
        <p:nvGrpSpPr>
          <p:cNvPr id="6" name="Group 5">
            <a:extLst>
              <a:ext uri="{FF2B5EF4-FFF2-40B4-BE49-F238E27FC236}">
                <a16:creationId xmlns:a16="http://schemas.microsoft.com/office/drawing/2014/main" id="{138C36DE-BE7C-4EA8-8C11-63DF35071C75}"/>
              </a:ext>
            </a:extLst>
          </p:cNvPr>
          <p:cNvGrpSpPr>
            <a:grpSpLocks noChangeAspect="1"/>
          </p:cNvGrpSpPr>
          <p:nvPr userDrawn="1"/>
        </p:nvGrpSpPr>
        <p:grpSpPr>
          <a:xfrm>
            <a:off x="476900" y="611982"/>
            <a:ext cx="2267015" cy="509586"/>
            <a:chOff x="9550400" y="612775"/>
            <a:chExt cx="2231297" cy="501650"/>
          </a:xfrm>
        </p:grpSpPr>
        <p:sp>
          <p:nvSpPr>
            <p:cNvPr id="8" name="Freeform: Shape 7">
              <a:extLst>
                <a:ext uri="{FF2B5EF4-FFF2-40B4-BE49-F238E27FC236}">
                  <a16:creationId xmlns:a16="http://schemas.microsoft.com/office/drawing/2014/main" id="{F832A913-EBD0-4A52-9BC5-C515E20AA2D2}"/>
                </a:ext>
              </a:extLst>
            </p:cNvPr>
            <p:cNvSpPr/>
            <p:nvPr/>
          </p:nvSpPr>
          <p:spPr>
            <a:xfrm>
              <a:off x="11517270" y="764033"/>
              <a:ext cx="261161" cy="212194"/>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9" name="Freeform: Shape 8">
              <a:extLst>
                <a:ext uri="{FF2B5EF4-FFF2-40B4-BE49-F238E27FC236}">
                  <a16:creationId xmlns:a16="http://schemas.microsoft.com/office/drawing/2014/main" id="{6C7C00F4-BABA-40DB-9C59-16A7B33536DE}"/>
                </a:ext>
              </a:extLst>
            </p:cNvPr>
            <p:cNvSpPr/>
            <p:nvPr/>
          </p:nvSpPr>
          <p:spPr>
            <a:xfrm>
              <a:off x="9550400" y="619305"/>
              <a:ext cx="1811806" cy="495120"/>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1" name="Freeform: Shape 10">
              <a:extLst>
                <a:ext uri="{FF2B5EF4-FFF2-40B4-BE49-F238E27FC236}">
                  <a16:creationId xmlns:a16="http://schemas.microsoft.com/office/drawing/2014/main" id="{06629252-ADFC-4FC9-85E5-6800A45F303B}"/>
                </a:ext>
              </a:extLst>
            </p:cNvPr>
            <p:cNvSpPr/>
            <p:nvPr/>
          </p:nvSpPr>
          <p:spPr>
            <a:xfrm>
              <a:off x="10915493" y="643771"/>
              <a:ext cx="54409" cy="59850"/>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2" name="Freeform: Shape 11">
              <a:extLst>
                <a:ext uri="{FF2B5EF4-FFF2-40B4-BE49-F238E27FC236}">
                  <a16:creationId xmlns:a16="http://schemas.microsoft.com/office/drawing/2014/main" id="{9DB5264D-26DE-4A16-881C-0B8EE6975DF9}"/>
                </a:ext>
              </a:extLst>
            </p:cNvPr>
            <p:cNvSpPr/>
            <p:nvPr/>
          </p:nvSpPr>
          <p:spPr>
            <a:xfrm>
              <a:off x="11270254" y="654106"/>
              <a:ext cx="54409" cy="54409"/>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3" name="Freeform: Shape 12">
              <a:extLst>
                <a:ext uri="{FF2B5EF4-FFF2-40B4-BE49-F238E27FC236}">
                  <a16:creationId xmlns:a16="http://schemas.microsoft.com/office/drawing/2014/main" id="{1478FE54-3447-4979-8CE3-A274C8BD5A44}"/>
                </a:ext>
              </a:extLst>
            </p:cNvPr>
            <p:cNvSpPr/>
            <p:nvPr/>
          </p:nvSpPr>
          <p:spPr>
            <a:xfrm>
              <a:off x="11384515" y="612775"/>
              <a:ext cx="397182" cy="331893"/>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Tree>
    <p:extLst>
      <p:ext uri="{BB962C8B-B14F-4D97-AF65-F5344CB8AC3E}">
        <p14:creationId xmlns:p14="http://schemas.microsoft.com/office/powerpoint/2010/main" val="2943962843"/>
      </p:ext>
    </p:extLst>
  </p:cSld>
  <p:clrMapOvr>
    <a:masterClrMapping/>
  </p:clrMapOvr>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27_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hasCustomPrompt="1"/>
          </p:nvPr>
        </p:nvSpPr>
        <p:spPr>
          <a:xfrm>
            <a:off x="3672840" y="388188"/>
            <a:ext cx="7679744" cy="716711"/>
          </a:xfrm>
        </p:spPr>
        <p:txBody>
          <a:bodyPr anchor="ctr"/>
          <a:lstStyle/>
          <a:p>
            <a:r>
              <a:rPr lang="fr-FR"/>
              <a:t>Modifiez le style du titre</a:t>
            </a:r>
            <a:endParaRPr lang="de-DE"/>
          </a:p>
        </p:txBody>
      </p:sp>
      <p:sp>
        <p:nvSpPr>
          <p:cNvPr id="4" name="Rectangle 3">
            <a:extLst>
              <a:ext uri="{FF2B5EF4-FFF2-40B4-BE49-F238E27FC236}">
                <a16:creationId xmlns:a16="http://schemas.microsoft.com/office/drawing/2014/main" id="{3045C0D7-D33F-49A6-9A3A-8905E9FDB856}"/>
              </a:ext>
            </a:extLst>
          </p:cNvPr>
          <p:cNvSpPr/>
          <p:nvPr userDrawn="1"/>
        </p:nvSpPr>
        <p:spPr>
          <a:xfrm>
            <a:off x="0" y="0"/>
            <a:ext cx="3354278"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err="1"/>
          </a:p>
        </p:txBody>
      </p:sp>
    </p:spTree>
    <p:extLst>
      <p:ext uri="{BB962C8B-B14F-4D97-AF65-F5344CB8AC3E}">
        <p14:creationId xmlns:p14="http://schemas.microsoft.com/office/powerpoint/2010/main" val="3047479132"/>
      </p:ext>
    </p:extLst>
  </p:cSld>
  <p:clrMapOvr>
    <a:masterClrMapping/>
  </p:clrMapOvr>
  <p:transition spd="slow">
    <p:push dir="u"/>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a:xfrm>
            <a:off x="404813" y="388188"/>
            <a:ext cx="10947772" cy="716711"/>
          </a:xfrm>
          <a:prstGeom prst="rect">
            <a:avLst/>
          </a:prstGeom>
        </p:spPr>
        <p:txBody>
          <a:bodyPr/>
          <a:lstStyle>
            <a:lvl1pPr>
              <a:defRPr>
                <a:solidFill>
                  <a:schemeClr val="bg1"/>
                </a:solidFill>
              </a:defRPr>
            </a:lvl1pPr>
          </a:lstStyle>
          <a:p>
            <a:r>
              <a:rPr lang="en-GB"/>
              <a:t>Click to edit Master title style</a:t>
            </a:r>
            <a:endParaRPr lang="de-DE"/>
          </a:p>
        </p:txBody>
      </p:sp>
    </p:spTree>
    <p:extLst>
      <p:ext uri="{BB962C8B-B14F-4D97-AF65-F5344CB8AC3E}">
        <p14:creationId xmlns:p14="http://schemas.microsoft.com/office/powerpoint/2010/main" val="919090453"/>
      </p:ext>
    </p:extLst>
  </p:cSld>
  <p:clrMapOvr>
    <a:masterClrMapping/>
  </p:clrMapOvr>
  <p:transition spd="slow">
    <p:push dir="u"/>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1_Content RH image 2">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5C94FEA8-066A-4CC1-BFCC-10ED1764A21E}"/>
              </a:ext>
            </a:extLst>
          </p:cNvPr>
          <p:cNvSpPr>
            <a:spLocks noGrp="1"/>
          </p:cNvSpPr>
          <p:nvPr>
            <p:ph type="pic" sz="quarter" idx="10"/>
          </p:nvPr>
        </p:nvSpPr>
        <p:spPr>
          <a:xfrm>
            <a:off x="7223124" y="0"/>
            <a:ext cx="4968876" cy="6858000"/>
          </a:xfrm>
          <a:custGeom>
            <a:avLst/>
            <a:gdLst>
              <a:gd name="connsiteX0" fmla="*/ 4563423 w 4968876"/>
              <a:gd name="connsiteY0" fmla="*/ 205058 h 6858000"/>
              <a:gd name="connsiteX1" fmla="*/ 4339039 w 4968876"/>
              <a:gd name="connsiteY1" fmla="*/ 436971 h 6858000"/>
              <a:gd name="connsiteX2" fmla="*/ 4416767 w 4968876"/>
              <a:gd name="connsiteY2" fmla="*/ 551459 h 6858000"/>
              <a:gd name="connsiteX3" fmla="*/ 4495961 w 4968876"/>
              <a:gd name="connsiteY3" fmla="*/ 552927 h 6858000"/>
              <a:gd name="connsiteX4" fmla="*/ 4528042 w 4968876"/>
              <a:gd name="connsiteY4" fmla="*/ 536965 h 6858000"/>
              <a:gd name="connsiteX5" fmla="*/ 4554424 w 4968876"/>
              <a:gd name="connsiteY5" fmla="*/ 513474 h 6858000"/>
              <a:gd name="connsiteX6" fmla="*/ 4547380 w 4968876"/>
              <a:gd name="connsiteY6" fmla="*/ 536398 h 6858000"/>
              <a:gd name="connsiteX7" fmla="*/ 4482579 w 4968876"/>
              <a:gd name="connsiteY7" fmla="*/ 579359 h 6858000"/>
              <a:gd name="connsiteX8" fmla="*/ 4536878 w 4968876"/>
              <a:gd name="connsiteY8" fmla="*/ 594046 h 6858000"/>
              <a:gd name="connsiteX9" fmla="*/ 4666020 w 4968876"/>
              <a:gd name="connsiteY9" fmla="*/ 551453 h 6858000"/>
              <a:gd name="connsiteX10" fmla="*/ 4601449 w 4968876"/>
              <a:gd name="connsiteY10" fmla="*/ 494172 h 6858000"/>
              <a:gd name="connsiteX11" fmla="*/ 4666020 w 4968876"/>
              <a:gd name="connsiteY11" fmla="*/ 525016 h 6858000"/>
              <a:gd name="connsiteX12" fmla="*/ 4751252 w 4968876"/>
              <a:gd name="connsiteY12" fmla="*/ 467391 h 6858000"/>
              <a:gd name="connsiteX13" fmla="*/ 4758467 w 4968876"/>
              <a:gd name="connsiteY13" fmla="*/ 431058 h 6858000"/>
              <a:gd name="connsiteX14" fmla="*/ 4758475 w 4968876"/>
              <a:gd name="connsiteY14" fmla="*/ 431100 h 6858000"/>
              <a:gd name="connsiteX15" fmla="*/ 4758475 w 4968876"/>
              <a:gd name="connsiteY15" fmla="*/ 431017 h 6858000"/>
              <a:gd name="connsiteX16" fmla="*/ 4758475 w 4968876"/>
              <a:gd name="connsiteY16" fmla="*/ 428164 h 6858000"/>
              <a:gd name="connsiteX17" fmla="*/ 4686614 w 4968876"/>
              <a:gd name="connsiteY17" fmla="*/ 279916 h 6858000"/>
              <a:gd name="connsiteX18" fmla="*/ 4573689 w 4968876"/>
              <a:gd name="connsiteY18" fmla="*/ 209461 h 6858000"/>
              <a:gd name="connsiteX19" fmla="*/ 4563423 w 4968876"/>
              <a:gd name="connsiteY19" fmla="*/ 205058 h 6858000"/>
              <a:gd name="connsiteX20" fmla="*/ 0 w 4968876"/>
              <a:gd name="connsiteY20" fmla="*/ 0 h 6858000"/>
              <a:gd name="connsiteX21" fmla="*/ 4968876 w 4968876"/>
              <a:gd name="connsiteY21" fmla="*/ 0 h 6858000"/>
              <a:gd name="connsiteX22" fmla="*/ 4968876 w 4968876"/>
              <a:gd name="connsiteY22" fmla="*/ 6858000 h 6858000"/>
              <a:gd name="connsiteX23" fmla="*/ 0 w 496887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68876" h="6858000">
                <a:moveTo>
                  <a:pt x="4563423" y="205058"/>
                </a:moveTo>
                <a:cubicBezTo>
                  <a:pt x="4513560" y="265238"/>
                  <a:pt x="4339039" y="310740"/>
                  <a:pt x="4339039" y="436971"/>
                </a:cubicBezTo>
                <a:cubicBezTo>
                  <a:pt x="4339039" y="486876"/>
                  <a:pt x="4369837" y="533846"/>
                  <a:pt x="4416767" y="551459"/>
                </a:cubicBezTo>
                <a:cubicBezTo>
                  <a:pt x="4443165" y="561734"/>
                  <a:pt x="4469563" y="561734"/>
                  <a:pt x="4495961" y="552927"/>
                </a:cubicBezTo>
                <a:cubicBezTo>
                  <a:pt x="4507694" y="549258"/>
                  <a:pt x="4518326" y="543753"/>
                  <a:pt x="4528042" y="536965"/>
                </a:cubicBezTo>
                <a:lnTo>
                  <a:pt x="4554424" y="513474"/>
                </a:lnTo>
                <a:lnTo>
                  <a:pt x="4547380" y="536398"/>
                </a:lnTo>
                <a:cubicBezTo>
                  <a:pt x="4535685" y="558154"/>
                  <a:pt x="4511196" y="574953"/>
                  <a:pt x="4482579" y="579359"/>
                </a:cubicBezTo>
                <a:cubicBezTo>
                  <a:pt x="4491384" y="588171"/>
                  <a:pt x="4511930" y="594046"/>
                  <a:pt x="4536878" y="594046"/>
                </a:cubicBezTo>
                <a:cubicBezTo>
                  <a:pt x="4582371" y="594046"/>
                  <a:pt x="4638137" y="580827"/>
                  <a:pt x="4666020" y="551453"/>
                </a:cubicBezTo>
                <a:cubicBezTo>
                  <a:pt x="4627865" y="552921"/>
                  <a:pt x="4602917" y="527953"/>
                  <a:pt x="4601449" y="494172"/>
                </a:cubicBezTo>
                <a:cubicBezTo>
                  <a:pt x="4619059" y="516203"/>
                  <a:pt x="4641072" y="525016"/>
                  <a:pt x="4666020" y="525016"/>
                </a:cubicBezTo>
                <a:cubicBezTo>
                  <a:pt x="4704543" y="525016"/>
                  <a:pt x="4737287" y="501057"/>
                  <a:pt x="4751252" y="467391"/>
                </a:cubicBezTo>
                <a:lnTo>
                  <a:pt x="4758467" y="431058"/>
                </a:lnTo>
                <a:lnTo>
                  <a:pt x="4758475" y="431100"/>
                </a:lnTo>
                <a:lnTo>
                  <a:pt x="4758475" y="431017"/>
                </a:lnTo>
                <a:lnTo>
                  <a:pt x="4758475" y="428164"/>
                </a:lnTo>
                <a:cubicBezTo>
                  <a:pt x="4758475" y="369452"/>
                  <a:pt x="4729144" y="319547"/>
                  <a:pt x="4686614" y="279916"/>
                </a:cubicBezTo>
                <a:cubicBezTo>
                  <a:pt x="4654349" y="249092"/>
                  <a:pt x="4614752" y="227075"/>
                  <a:pt x="4573689" y="209461"/>
                </a:cubicBezTo>
                <a:cubicBezTo>
                  <a:pt x="4570755" y="207994"/>
                  <a:pt x="4567822" y="206526"/>
                  <a:pt x="4563423" y="205058"/>
                </a:cubicBezTo>
                <a:close/>
                <a:moveTo>
                  <a:pt x="0" y="0"/>
                </a:moveTo>
                <a:lnTo>
                  <a:pt x="4968876" y="0"/>
                </a:lnTo>
                <a:lnTo>
                  <a:pt x="496887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a:t>
            </a:r>
            <a:endParaRPr lang="en-GB"/>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4" y="1161430"/>
            <a:ext cx="6627290" cy="1115442"/>
          </a:xfrm>
        </p:spPr>
        <p:txBody>
          <a:bodyPr vert="horz" lIns="0" tIns="0" rIns="0" bIns="0" rtlCol="0" anchor="b">
            <a:noAutofit/>
          </a:bodyPr>
          <a:lstStyle>
            <a:lvl1pPr>
              <a:defRPr lang="en-GB" sz="3600">
                <a:solidFill>
                  <a:schemeClr val="tx1"/>
                </a:solidFill>
              </a:defRPr>
            </a:lvl1pPr>
          </a:lstStyle>
          <a:p>
            <a:pPr lvl="0"/>
            <a:r>
              <a:rPr lang="en-US"/>
              <a:t>Click to edit Master title style</a:t>
            </a:r>
            <a:endParaRPr lang="en-GB"/>
          </a:p>
        </p:txBody>
      </p:sp>
      <p:sp>
        <p:nvSpPr>
          <p:cNvPr id="5" name="Text Placeholder 4">
            <a:extLst>
              <a:ext uri="{FF2B5EF4-FFF2-40B4-BE49-F238E27FC236}">
                <a16:creationId xmlns:a16="http://schemas.microsoft.com/office/drawing/2014/main" id="{D410FA47-1FF8-451B-8532-F1B477524FA0}"/>
              </a:ext>
            </a:extLst>
          </p:cNvPr>
          <p:cNvSpPr>
            <a:spLocks noGrp="1"/>
          </p:cNvSpPr>
          <p:nvPr>
            <p:ph type="body" sz="quarter" idx="11"/>
          </p:nvPr>
        </p:nvSpPr>
        <p:spPr>
          <a:xfrm>
            <a:off x="404813" y="2492374"/>
            <a:ext cx="6627290" cy="273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027376"/>
      </p:ext>
    </p:extLst>
  </p:cSld>
  <p:clrMapOvr>
    <a:masterClrMapping/>
  </p:clrMapOvr>
  <p:transition spd="slow">
    <p:push dir="u"/>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9"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371364" y="307876"/>
            <a:ext cx="11125236" cy="1104900"/>
          </a:xfrm>
        </p:spPr>
        <p:txBody>
          <a:bodyPr/>
          <a:lstStyle/>
          <a:p>
            <a:r>
              <a:rPr lang="en-US"/>
              <a:t>Click to edit Master title style</a:t>
            </a:r>
            <a:endParaRPr lang="en-GB"/>
          </a:p>
        </p:txBody>
      </p:sp>
    </p:spTree>
    <p:extLst>
      <p:ext uri="{BB962C8B-B14F-4D97-AF65-F5344CB8AC3E}">
        <p14:creationId xmlns:p14="http://schemas.microsoft.com/office/powerpoint/2010/main" val="532745288"/>
      </p:ext>
    </p:extLst>
  </p:cSld>
  <p:clrMapOvr>
    <a:masterClrMapping/>
  </p:clrMapOvr>
  <p:transition spd="slow">
    <p:push dir="u"/>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Dark grey">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1084646"/>
      </p:ext>
    </p:extLst>
  </p:cSld>
  <p:clrMapOvr>
    <a:masterClrMapping/>
  </p:clrMapOvr>
  <p:transition spd="slow">
    <p:push dir="u"/>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2_clients review">
    <p:spTree>
      <p:nvGrpSpPr>
        <p:cNvPr id="1" name=""/>
        <p:cNvGrpSpPr/>
        <p:nvPr/>
      </p:nvGrpSpPr>
      <p:grpSpPr>
        <a:xfrm>
          <a:off x="0" y="0"/>
          <a:ext cx="0" cy="0"/>
          <a:chOff x="0" y="0"/>
          <a:chExt cx="0" cy="0"/>
        </a:xfrm>
      </p:grpSpPr>
      <p:sp>
        <p:nvSpPr>
          <p:cNvPr id="40" name="Text Placeholder 39">
            <a:extLst>
              <a:ext uri="{FF2B5EF4-FFF2-40B4-BE49-F238E27FC236}">
                <a16:creationId xmlns:a16="http://schemas.microsoft.com/office/drawing/2014/main" id="{75387644-41E9-B04D-BC6D-8510C9DDF908}"/>
              </a:ext>
            </a:extLst>
          </p:cNvPr>
          <p:cNvSpPr>
            <a:spLocks noGrp="1"/>
          </p:cNvSpPr>
          <p:nvPr>
            <p:ph type="body" sz="quarter" idx="14"/>
          </p:nvPr>
        </p:nvSpPr>
        <p:spPr>
          <a:xfrm>
            <a:off x="2721178" y="2256445"/>
            <a:ext cx="2232025" cy="3355975"/>
          </a:xfrm>
          <a:prstGeom prst="rect">
            <a:avLst/>
          </a:prstGeom>
        </p:spPr>
        <p:txBody>
          <a:bodyPr/>
          <a:lstStyle>
            <a:lvl1pPr marL="0" indent="0">
              <a:buFontTx/>
              <a:buNone/>
              <a:defRPr sz="1200"/>
            </a:lvl1pPr>
            <a:lvl2pPr marL="0" indent="0">
              <a:buFontTx/>
              <a:buNone/>
              <a:defRPr sz="1200" b="1"/>
            </a:lvl2pPr>
            <a:lvl3pPr marL="177800" indent="0">
              <a:buFontTx/>
              <a:buNone/>
              <a:defRPr/>
            </a:lvl3pPr>
            <a:lvl4pPr marL="361950" indent="0">
              <a:buFontTx/>
              <a:buNone/>
              <a:defRPr/>
            </a:lvl4pPr>
            <a:lvl5pPr marL="539750" indent="0">
              <a:buFontTx/>
              <a:buNone/>
              <a:defRPr/>
            </a:lvl5pPr>
          </a:lstStyle>
          <a:p>
            <a:pPr lvl="0"/>
            <a:r>
              <a:rPr lang="en-GB"/>
              <a:t>Click to edit Master text styles</a:t>
            </a:r>
          </a:p>
          <a:p>
            <a:pPr lvl="1"/>
            <a:r>
              <a:rPr lang="en-GB"/>
              <a:t>Second level</a:t>
            </a:r>
          </a:p>
        </p:txBody>
      </p:sp>
      <p:sp>
        <p:nvSpPr>
          <p:cNvPr id="42" name="Text Placeholder 41">
            <a:extLst>
              <a:ext uri="{FF2B5EF4-FFF2-40B4-BE49-F238E27FC236}">
                <a16:creationId xmlns:a16="http://schemas.microsoft.com/office/drawing/2014/main" id="{0270A6B4-D6EC-1548-966F-F3722E72B86B}"/>
              </a:ext>
            </a:extLst>
          </p:cNvPr>
          <p:cNvSpPr>
            <a:spLocks noGrp="1"/>
          </p:cNvSpPr>
          <p:nvPr>
            <p:ph type="body" sz="quarter" idx="15" hasCustomPrompt="1"/>
          </p:nvPr>
        </p:nvSpPr>
        <p:spPr>
          <a:xfrm>
            <a:off x="404813" y="2257425"/>
            <a:ext cx="2120673" cy="2693988"/>
          </a:xfrm>
          <a:prstGeom prst="rect">
            <a:avLst/>
          </a:prstGeom>
        </p:spPr>
        <p:txBody>
          <a:bodyPr>
            <a:normAutofit/>
          </a:bodyPr>
          <a:lstStyle>
            <a:lvl1pPr>
              <a:spcAft>
                <a:spcPts val="0"/>
              </a:spcAft>
              <a:defRPr sz="1800" b="1"/>
            </a:lvl1pPr>
            <a:lvl2pPr>
              <a:defRPr sz="1800"/>
            </a:lvl2pPr>
            <a:lvl3pPr>
              <a:defRPr sz="1800"/>
            </a:lvl3pPr>
            <a:lvl4pPr>
              <a:defRPr sz="1800"/>
            </a:lvl4pPr>
            <a:lvl5pPr>
              <a:defRPr sz="1800"/>
            </a:lvl5pPr>
          </a:lstStyle>
          <a:p>
            <a:pPr lvl="0"/>
            <a:r>
              <a:rPr lang="en-GB"/>
              <a:t>CLICK TO EDIT MASTER TEXT STYLES</a:t>
            </a:r>
            <a:endParaRPr lang="x-none"/>
          </a:p>
        </p:txBody>
      </p:sp>
      <p:sp>
        <p:nvSpPr>
          <p:cNvPr id="45" name="Text Placeholder 44">
            <a:extLst>
              <a:ext uri="{FF2B5EF4-FFF2-40B4-BE49-F238E27FC236}">
                <a16:creationId xmlns:a16="http://schemas.microsoft.com/office/drawing/2014/main" id="{6ECA2835-C70C-394D-9B06-BC31E826667A}"/>
              </a:ext>
            </a:extLst>
          </p:cNvPr>
          <p:cNvSpPr>
            <a:spLocks noGrp="1"/>
          </p:cNvSpPr>
          <p:nvPr>
            <p:ph type="body" sz="quarter" idx="16" hasCustomPrompt="1"/>
          </p:nvPr>
        </p:nvSpPr>
        <p:spPr>
          <a:xfrm>
            <a:off x="424269" y="781320"/>
            <a:ext cx="2003425" cy="276225"/>
          </a:xfrm>
          <a:prstGeom prst="rect">
            <a:avLst/>
          </a:prstGeom>
        </p:spPr>
        <p:txBody>
          <a:bodyPr>
            <a:normAutofit/>
          </a:bodyPr>
          <a:lstStyle>
            <a:lvl1pPr>
              <a:defRPr sz="1200"/>
            </a:lvl1pPr>
          </a:lstStyle>
          <a:p>
            <a:pPr lvl="0"/>
            <a:r>
              <a:rPr lang="en-GB"/>
              <a:t>CLICK TO EDIT</a:t>
            </a:r>
          </a:p>
        </p:txBody>
      </p:sp>
      <p:sp>
        <p:nvSpPr>
          <p:cNvPr id="31" name="Text Placeholder 37">
            <a:extLst>
              <a:ext uri="{FF2B5EF4-FFF2-40B4-BE49-F238E27FC236}">
                <a16:creationId xmlns:a16="http://schemas.microsoft.com/office/drawing/2014/main" id="{FEDAAFCC-8956-1F40-AF02-939D35AD09F7}"/>
              </a:ext>
            </a:extLst>
          </p:cNvPr>
          <p:cNvSpPr>
            <a:spLocks noGrp="1"/>
          </p:cNvSpPr>
          <p:nvPr>
            <p:ph type="body" sz="quarter" idx="13"/>
          </p:nvPr>
        </p:nvSpPr>
        <p:spPr>
          <a:xfrm>
            <a:off x="9766570" y="2265937"/>
            <a:ext cx="2017443" cy="3512293"/>
          </a:xfrm>
          <a:prstGeom prst="rect">
            <a:avLst/>
          </a:prstGeom>
        </p:spPr>
        <p:txBody>
          <a:bodyPr/>
          <a:lstStyle>
            <a:lvl1pPr marL="0" indent="0">
              <a:spcAft>
                <a:spcPts val="0"/>
              </a:spcAft>
              <a:buFont typeface="Arial" panose="020B0604020202020204" pitchFamily="34" charset="0"/>
              <a:buNone/>
              <a:defRPr sz="1400">
                <a:solidFill>
                  <a:srgbClr val="00214A"/>
                </a:solidFill>
              </a:defRPr>
            </a:lvl1pPr>
            <a:lvl2pPr marL="0" indent="0">
              <a:buNone/>
              <a:defRPr sz="1200" b="1">
                <a:solidFill>
                  <a:srgbClr val="11ABDC"/>
                </a:solidFill>
              </a:defRPr>
            </a:lvl2pPr>
            <a:lvl3pPr marL="177800" indent="0" algn="l">
              <a:buFont typeface="Arial" panose="020B0604020202020204" pitchFamily="34" charset="0"/>
              <a:buNone/>
              <a:defRPr sz="1000" b="0">
                <a:solidFill>
                  <a:srgbClr val="11ABDC"/>
                </a:solidFill>
              </a:defRPr>
            </a:lvl3pPr>
            <a:lvl4pPr marL="361950" indent="0">
              <a:buNone/>
              <a:defRPr>
                <a:solidFill>
                  <a:schemeClr val="bg1"/>
                </a:solidFill>
              </a:defRPr>
            </a:lvl4pPr>
            <a:lvl5pPr marL="539750" indent="0">
              <a:buNone/>
              <a:defRPr>
                <a:solidFill>
                  <a:schemeClr val="bg1"/>
                </a:solidFill>
              </a:defRPr>
            </a:lvl5pPr>
          </a:lstStyle>
          <a:p>
            <a:pPr lvl="0"/>
            <a:r>
              <a:rPr lang="en-GB"/>
              <a:t>Click to edit Master text styles</a:t>
            </a:r>
          </a:p>
          <a:p>
            <a:pPr lvl="0"/>
            <a:endParaRPr lang="en-GB"/>
          </a:p>
          <a:p>
            <a:pPr lvl="1"/>
            <a:r>
              <a:rPr lang="en-GB"/>
              <a:t>SECOND LEVEL</a:t>
            </a:r>
          </a:p>
          <a:p>
            <a:pPr lvl="2"/>
            <a:r>
              <a:rPr lang="en-GB"/>
              <a:t>Third level</a:t>
            </a:r>
          </a:p>
        </p:txBody>
      </p:sp>
    </p:spTree>
    <p:extLst>
      <p:ext uri="{BB962C8B-B14F-4D97-AF65-F5344CB8AC3E}">
        <p14:creationId xmlns:p14="http://schemas.microsoft.com/office/powerpoint/2010/main" val="1098109368"/>
      </p:ext>
    </p:extLst>
  </p:cSld>
  <p:clrMapOvr>
    <a:masterClrMapping/>
  </p:clrMapOvr>
  <p:transition spd="slow">
    <p:push dir="u"/>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8_Only Title">
    <p:bg>
      <p:bgPr>
        <a:solidFill>
          <a:schemeClr val="accent4"/>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D64C81D3-0931-4132-8052-F29AAA6B5F12}"/>
              </a:ext>
            </a:extLst>
          </p:cNvPr>
          <p:cNvSpPr/>
          <p:nvPr userDrawn="1"/>
        </p:nvSpPr>
        <p:spPr>
          <a:xfrm>
            <a:off x="5791200" y="5686425"/>
            <a:ext cx="6400800" cy="7688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cxnSp>
        <p:nvCxnSpPr>
          <p:cNvPr id="19" name="Straight Connector 18">
            <a:extLst>
              <a:ext uri="{FF2B5EF4-FFF2-40B4-BE49-F238E27FC236}">
                <a16:creationId xmlns:a16="http://schemas.microsoft.com/office/drawing/2014/main" id="{03A0300F-C1E9-40AA-AB86-14914C05CB8E}"/>
              </a:ext>
            </a:extLst>
          </p:cNvPr>
          <p:cNvCxnSpPr/>
          <p:nvPr userDrawn="1"/>
        </p:nvCxnSpPr>
        <p:spPr>
          <a:xfrm>
            <a:off x="5791201" y="6455258"/>
            <a:ext cx="6400799" cy="0"/>
          </a:xfrm>
          <a:prstGeom prst="line">
            <a:avLst/>
          </a:prstGeom>
          <a:ln w="222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EAC94853-E027-48B4-BE04-9B7B14F24C31}"/>
              </a:ext>
            </a:extLst>
          </p:cNvPr>
          <p:cNvCxnSpPr/>
          <p:nvPr userDrawn="1"/>
        </p:nvCxnSpPr>
        <p:spPr>
          <a:xfrm>
            <a:off x="5791201" y="5686425"/>
            <a:ext cx="6400799" cy="0"/>
          </a:xfrm>
          <a:prstGeom prst="line">
            <a:avLst/>
          </a:prstGeom>
          <a:ln w="22225">
            <a:solidFill>
              <a:schemeClr val="accent2"/>
            </a:solidFill>
          </a:ln>
        </p:spPr>
        <p:style>
          <a:lnRef idx="1">
            <a:schemeClr val="accent1"/>
          </a:lnRef>
          <a:fillRef idx="0">
            <a:schemeClr val="accent1"/>
          </a:fillRef>
          <a:effectRef idx="0">
            <a:schemeClr val="accent1"/>
          </a:effectRef>
          <a:fontRef idx="minor">
            <a:schemeClr val="tx1"/>
          </a:fontRef>
        </p:style>
      </p:cxnSp>
      <p:graphicFrame>
        <p:nvGraphicFramePr>
          <p:cNvPr id="5" name="Object 4" hidden="1"/>
          <p:cNvGraphicFramePr>
            <a:graphicFrameLocks noChangeAspect="1"/>
          </p:cNvGraphicFramePr>
          <p:nvPr userDrawn="1">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userDrawn="1">
            <p:ph type="title"/>
          </p:nvPr>
        </p:nvSpPr>
        <p:spPr>
          <a:xfrm>
            <a:off x="6189663" y="388188"/>
            <a:ext cx="5162921" cy="716711"/>
          </a:xfrm>
        </p:spPr>
        <p:txBody>
          <a:bodyPr/>
          <a:lstStyle>
            <a:lvl1pPr>
              <a:defRPr>
                <a:solidFill>
                  <a:schemeClr val="accent2"/>
                </a:solidFill>
              </a:defRPr>
            </a:lvl1pPr>
          </a:lstStyle>
          <a:p>
            <a:r>
              <a:rPr lang="fr-FR"/>
              <a:t>Modifiez le style du titre</a:t>
            </a:r>
            <a:endParaRPr lang="de-DE"/>
          </a:p>
        </p:txBody>
      </p:sp>
      <p:pic>
        <p:nvPicPr>
          <p:cNvPr id="12" name="Picture 11" descr="A person standing on a beach&#10;&#10;Description automatically generated">
            <a:extLst>
              <a:ext uri="{FF2B5EF4-FFF2-40B4-BE49-F238E27FC236}">
                <a16:creationId xmlns:a16="http://schemas.microsoft.com/office/drawing/2014/main" id="{4FC33BA2-F3B1-4244-8CEA-32BBC15DEA67}"/>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flipH="1">
            <a:off x="0" y="0"/>
            <a:ext cx="6019800" cy="6858000"/>
          </a:xfrm>
          <a:prstGeom prst="rect">
            <a:avLst/>
          </a:prstGeom>
        </p:spPr>
      </p:pic>
      <p:grpSp>
        <p:nvGrpSpPr>
          <p:cNvPr id="4" name="Group 3">
            <a:extLst>
              <a:ext uri="{FF2B5EF4-FFF2-40B4-BE49-F238E27FC236}">
                <a16:creationId xmlns:a16="http://schemas.microsoft.com/office/drawing/2014/main" id="{AFF83A48-ABD7-4702-8CA1-4DB1DEC49C22}"/>
              </a:ext>
            </a:extLst>
          </p:cNvPr>
          <p:cNvGrpSpPr/>
          <p:nvPr userDrawn="1"/>
        </p:nvGrpSpPr>
        <p:grpSpPr>
          <a:xfrm>
            <a:off x="5943231" y="0"/>
            <a:ext cx="171276" cy="6858000"/>
            <a:chOff x="6688748" y="0"/>
            <a:chExt cx="262494" cy="6873948"/>
          </a:xfrm>
        </p:grpSpPr>
        <p:grpSp>
          <p:nvGrpSpPr>
            <p:cNvPr id="6" name="Group 5">
              <a:extLst>
                <a:ext uri="{FF2B5EF4-FFF2-40B4-BE49-F238E27FC236}">
                  <a16:creationId xmlns:a16="http://schemas.microsoft.com/office/drawing/2014/main" id="{ED36266A-4395-4C9A-94D1-05BEC3D8B5B7}"/>
                </a:ext>
              </a:extLst>
            </p:cNvPr>
            <p:cNvGrpSpPr/>
            <p:nvPr userDrawn="1"/>
          </p:nvGrpSpPr>
          <p:grpSpPr>
            <a:xfrm>
              <a:off x="6688748" y="0"/>
              <a:ext cx="161209" cy="6873948"/>
              <a:chOff x="6688748" y="0"/>
              <a:chExt cx="161209" cy="6873948"/>
            </a:xfrm>
          </p:grpSpPr>
          <p:sp>
            <p:nvSpPr>
              <p:cNvPr id="10" name="Rectangle 9">
                <a:extLst>
                  <a:ext uri="{FF2B5EF4-FFF2-40B4-BE49-F238E27FC236}">
                    <a16:creationId xmlns:a16="http://schemas.microsoft.com/office/drawing/2014/main" id="{952985C5-F507-4760-95B6-5C13F9454590}"/>
                  </a:ext>
                </a:extLst>
              </p:cNvPr>
              <p:cNvSpPr/>
              <p:nvPr userDrawn="1"/>
            </p:nvSpPr>
            <p:spPr>
              <a:xfrm>
                <a:off x="6688748" y="0"/>
                <a:ext cx="96732" cy="687394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Ubuntu"/>
                  <a:ea typeface="+mn-ea"/>
                  <a:cs typeface="+mn-cs"/>
                </a:endParaRPr>
              </a:p>
            </p:txBody>
          </p:sp>
          <p:sp>
            <p:nvSpPr>
              <p:cNvPr id="11" name="Rectangle 10">
                <a:extLst>
                  <a:ext uri="{FF2B5EF4-FFF2-40B4-BE49-F238E27FC236}">
                    <a16:creationId xmlns:a16="http://schemas.microsoft.com/office/drawing/2014/main" id="{730125A2-0FCD-4651-8B2B-7D2EE55F634B}"/>
                  </a:ext>
                </a:extLst>
              </p:cNvPr>
              <p:cNvSpPr/>
              <p:nvPr userDrawn="1"/>
            </p:nvSpPr>
            <p:spPr>
              <a:xfrm>
                <a:off x="6753225" y="0"/>
                <a:ext cx="96732" cy="687394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Ubuntu"/>
                  <a:ea typeface="+mn-ea"/>
                  <a:cs typeface="+mn-cs"/>
                </a:endParaRPr>
              </a:p>
            </p:txBody>
          </p:sp>
        </p:grpSp>
        <p:grpSp>
          <p:nvGrpSpPr>
            <p:cNvPr id="7" name="Group 6">
              <a:extLst>
                <a:ext uri="{FF2B5EF4-FFF2-40B4-BE49-F238E27FC236}">
                  <a16:creationId xmlns:a16="http://schemas.microsoft.com/office/drawing/2014/main" id="{F37FE657-CC3C-428B-9C5B-498540190A3D}"/>
                </a:ext>
              </a:extLst>
            </p:cNvPr>
            <p:cNvGrpSpPr/>
            <p:nvPr userDrawn="1"/>
          </p:nvGrpSpPr>
          <p:grpSpPr>
            <a:xfrm>
              <a:off x="6724839" y="3259911"/>
              <a:ext cx="226403" cy="354126"/>
              <a:chOff x="6724839" y="3251938"/>
              <a:chExt cx="226403" cy="354126"/>
            </a:xfrm>
          </p:grpSpPr>
          <p:sp>
            <p:nvSpPr>
              <p:cNvPr id="8" name="Isosceles Triangle 7">
                <a:extLst>
                  <a:ext uri="{FF2B5EF4-FFF2-40B4-BE49-F238E27FC236}">
                    <a16:creationId xmlns:a16="http://schemas.microsoft.com/office/drawing/2014/main" id="{C472BF44-88D6-4D6A-9050-1EF6C6A0D9A0}"/>
                  </a:ext>
                </a:extLst>
              </p:cNvPr>
              <p:cNvSpPr/>
              <p:nvPr userDrawn="1"/>
            </p:nvSpPr>
            <p:spPr>
              <a:xfrm rot="5400000">
                <a:off x="6683692" y="3338514"/>
                <a:ext cx="354126" cy="180974"/>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Ubuntu"/>
                  <a:ea typeface="+mn-ea"/>
                  <a:cs typeface="+mn-cs"/>
                </a:endParaRPr>
              </a:p>
            </p:txBody>
          </p:sp>
          <p:sp>
            <p:nvSpPr>
              <p:cNvPr id="9" name="Isosceles Triangle 8">
                <a:extLst>
                  <a:ext uri="{FF2B5EF4-FFF2-40B4-BE49-F238E27FC236}">
                    <a16:creationId xmlns:a16="http://schemas.microsoft.com/office/drawing/2014/main" id="{CCF610ED-CB97-42CB-8C55-DEC8C541E3E9}"/>
                  </a:ext>
                </a:extLst>
              </p:cNvPr>
              <p:cNvSpPr/>
              <p:nvPr userDrawn="1"/>
            </p:nvSpPr>
            <p:spPr>
              <a:xfrm rot="5400000">
                <a:off x="6650150" y="3338513"/>
                <a:ext cx="330354" cy="180975"/>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Ubuntu"/>
                  <a:ea typeface="+mn-ea"/>
                  <a:cs typeface="+mn-cs"/>
                </a:endParaRPr>
              </a:p>
            </p:txBody>
          </p:sp>
        </p:grpSp>
      </p:grpSp>
      <p:sp>
        <p:nvSpPr>
          <p:cNvPr id="13" name="Rectangle 27">
            <a:extLst>
              <a:ext uri="{FF2B5EF4-FFF2-40B4-BE49-F238E27FC236}">
                <a16:creationId xmlns:a16="http://schemas.microsoft.com/office/drawing/2014/main" id="{80DC98C4-8420-4E18-8F83-2B148553C5F0}"/>
              </a:ext>
            </a:extLst>
          </p:cNvPr>
          <p:cNvSpPr/>
          <p:nvPr userDrawn="1"/>
        </p:nvSpPr>
        <p:spPr>
          <a:xfrm>
            <a:off x="6189663" y="6571518"/>
            <a:ext cx="1227900" cy="107722"/>
          </a:xfrm>
          <a:prstGeom prst="rect">
            <a:avLst/>
          </a:prstGeom>
        </p:spPr>
        <p:txBody>
          <a:bodyPr wrap="none" lIns="0" tIns="0" rIns="0" bIns="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a:solidFill>
                  <a:srgbClr val="A6A6A6"/>
                </a:solidFill>
                <a:latin typeface="Ubuntu" panose="020B0504030602030204" pitchFamily="34" charset="0"/>
                <a:cs typeface="Arial" panose="020B0604020202020204" pitchFamily="34" charset="0"/>
              </a:rPr>
              <a:t>Practice Overview | June 2022</a:t>
            </a:r>
          </a:p>
        </p:txBody>
      </p:sp>
      <p:sp>
        <p:nvSpPr>
          <p:cNvPr id="15" name="TextBox 14">
            <a:extLst>
              <a:ext uri="{FF2B5EF4-FFF2-40B4-BE49-F238E27FC236}">
                <a16:creationId xmlns:a16="http://schemas.microsoft.com/office/drawing/2014/main" id="{5DB7DF72-5115-4853-B928-642DAD99D460}"/>
              </a:ext>
            </a:extLst>
          </p:cNvPr>
          <p:cNvSpPr txBox="1"/>
          <p:nvPr userDrawn="1"/>
        </p:nvSpPr>
        <p:spPr>
          <a:xfrm>
            <a:off x="413222" y="6525352"/>
            <a:ext cx="767839" cy="153888"/>
          </a:xfrm>
          <a:prstGeom prst="rect">
            <a:avLst/>
          </a:prstGeom>
          <a:noFill/>
        </p:spPr>
        <p:txBody>
          <a:bodyPr wrap="none" lIns="0" tIns="0" rIns="0" bIns="0" rtlCol="0" anchor="b" anchorCtr="0">
            <a:spAutoFit/>
          </a:bodyPr>
          <a:lstStyle/>
          <a:p>
            <a:r>
              <a:rPr lang="en-US" sz="1000">
                <a:solidFill>
                  <a:schemeClr val="bg1"/>
                </a:solidFill>
              </a:rPr>
              <a:t>Confidential</a:t>
            </a:r>
          </a:p>
        </p:txBody>
      </p:sp>
      <p:sp>
        <p:nvSpPr>
          <p:cNvPr id="16" name="Freeform: Shape 15">
            <a:extLst>
              <a:ext uri="{FF2B5EF4-FFF2-40B4-BE49-F238E27FC236}">
                <a16:creationId xmlns:a16="http://schemas.microsoft.com/office/drawing/2014/main" id="{793F7C9C-B05A-4A3A-A9A8-5C473FC6635B}"/>
              </a:ext>
            </a:extLst>
          </p:cNvPr>
          <p:cNvSpPr/>
          <p:nvPr userDrawn="1"/>
        </p:nvSpPr>
        <p:spPr>
          <a:xfrm>
            <a:off x="0" y="393532"/>
            <a:ext cx="2488998" cy="863600"/>
          </a:xfrm>
          <a:custGeom>
            <a:avLst/>
            <a:gdLst>
              <a:gd name="connsiteX0" fmla="*/ 0 w 2488998"/>
              <a:gd name="connsiteY0" fmla="*/ 0 h 863600"/>
              <a:gd name="connsiteX1" fmla="*/ 2057198 w 2488998"/>
              <a:gd name="connsiteY1" fmla="*/ 0 h 863600"/>
              <a:gd name="connsiteX2" fmla="*/ 2488998 w 2488998"/>
              <a:gd name="connsiteY2" fmla="*/ 431800 h 863600"/>
              <a:gd name="connsiteX3" fmla="*/ 2057198 w 2488998"/>
              <a:gd name="connsiteY3" fmla="*/ 863600 h 863600"/>
              <a:gd name="connsiteX4" fmla="*/ 0 w 2488998"/>
              <a:gd name="connsiteY4" fmla="*/ 863600 h 86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8998" h="863600">
                <a:moveTo>
                  <a:pt x="0" y="0"/>
                </a:moveTo>
                <a:lnTo>
                  <a:pt x="2057198" y="0"/>
                </a:lnTo>
                <a:cubicBezTo>
                  <a:pt x="2295675" y="0"/>
                  <a:pt x="2488998" y="193323"/>
                  <a:pt x="2488998" y="431800"/>
                </a:cubicBezTo>
                <a:cubicBezTo>
                  <a:pt x="2488998" y="670277"/>
                  <a:pt x="2295675" y="863600"/>
                  <a:pt x="2057198" y="863600"/>
                </a:cubicBezTo>
                <a:lnTo>
                  <a:pt x="0" y="863600"/>
                </a:lnTo>
                <a:close/>
              </a:path>
            </a:pathLst>
          </a:custGeom>
          <a:solidFill>
            <a:schemeClr val="bg1">
              <a:alpha val="54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pic>
        <p:nvPicPr>
          <p:cNvPr id="22" name="Picture 21">
            <a:extLst>
              <a:ext uri="{FF2B5EF4-FFF2-40B4-BE49-F238E27FC236}">
                <a16:creationId xmlns:a16="http://schemas.microsoft.com/office/drawing/2014/main" id="{79BC4619-6BB4-4DE7-96BB-90B1812BD307}"/>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a:stretch>
            <a:fillRect/>
          </a:stretch>
        </p:blipFill>
        <p:spPr>
          <a:xfrm>
            <a:off x="-632884" y="810099"/>
            <a:ext cx="7586134" cy="5365853"/>
          </a:xfrm>
          <a:custGeom>
            <a:avLst/>
            <a:gdLst>
              <a:gd name="connsiteX0" fmla="*/ 3337984 w 7586134"/>
              <a:gd name="connsiteY0" fmla="*/ 3076101 h 5365853"/>
              <a:gd name="connsiteX1" fmla="*/ 3309409 w 7586134"/>
              <a:gd name="connsiteY1" fmla="*/ 3222151 h 5365853"/>
              <a:gd name="connsiteX2" fmla="*/ 3623734 w 7586134"/>
              <a:gd name="connsiteY2" fmla="*/ 3301526 h 5365853"/>
              <a:gd name="connsiteX3" fmla="*/ 3693584 w 7586134"/>
              <a:gd name="connsiteY3" fmla="*/ 3126901 h 5365853"/>
              <a:gd name="connsiteX4" fmla="*/ 0 w 7586134"/>
              <a:gd name="connsiteY4" fmla="*/ 0 h 5365853"/>
              <a:gd name="connsiteX5" fmla="*/ 7586134 w 7586134"/>
              <a:gd name="connsiteY5" fmla="*/ 0 h 5365853"/>
              <a:gd name="connsiteX6" fmla="*/ 7586134 w 7586134"/>
              <a:gd name="connsiteY6" fmla="*/ 5365853 h 5365853"/>
              <a:gd name="connsiteX7" fmla="*/ 0 w 7586134"/>
              <a:gd name="connsiteY7" fmla="*/ 5365853 h 5365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86134" h="5365853">
                <a:moveTo>
                  <a:pt x="3337984" y="3076101"/>
                </a:moveTo>
                <a:lnTo>
                  <a:pt x="3309409" y="3222151"/>
                </a:lnTo>
                <a:lnTo>
                  <a:pt x="3623734" y="3301526"/>
                </a:lnTo>
                <a:lnTo>
                  <a:pt x="3693584" y="3126901"/>
                </a:lnTo>
                <a:close/>
                <a:moveTo>
                  <a:pt x="0" y="0"/>
                </a:moveTo>
                <a:lnTo>
                  <a:pt x="7586134" y="0"/>
                </a:lnTo>
                <a:lnTo>
                  <a:pt x="7586134" y="5365853"/>
                </a:lnTo>
                <a:lnTo>
                  <a:pt x="0" y="5365853"/>
                </a:lnTo>
                <a:close/>
              </a:path>
            </a:pathLst>
          </a:custGeom>
        </p:spPr>
      </p:pic>
    </p:spTree>
    <p:extLst>
      <p:ext uri="{BB962C8B-B14F-4D97-AF65-F5344CB8AC3E}">
        <p14:creationId xmlns:p14="http://schemas.microsoft.com/office/powerpoint/2010/main" val="2674173371"/>
      </p:ext>
    </p:extLst>
  </p:cSld>
  <p:clrMapOvr>
    <a:masterClrMapping/>
  </p:clrMapOvr>
  <p:transition spd="slow">
    <p:push dir="u"/>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67390683"/>
      </p:ext>
    </p:extLst>
  </p:cSld>
  <p:clrMapOvr>
    <a:masterClrMapping/>
  </p:clrMapOvr>
  <p:transition spd="slow">
    <p:push dir="u"/>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a:xfrm>
            <a:off x="404813" y="388188"/>
            <a:ext cx="10947772" cy="716711"/>
          </a:xfrm>
          <a:prstGeom prst="rect">
            <a:avLst/>
          </a:prstGeom>
        </p:spPr>
        <p:txBody>
          <a:bodyPr/>
          <a:lstStyle/>
          <a:p>
            <a:r>
              <a:rPr lang="en-GB"/>
              <a:t>Click to edit Master title style</a:t>
            </a:r>
          </a:p>
        </p:txBody>
      </p:sp>
    </p:spTree>
    <p:extLst>
      <p:ext uri="{BB962C8B-B14F-4D97-AF65-F5344CB8AC3E}">
        <p14:creationId xmlns:p14="http://schemas.microsoft.com/office/powerpoint/2010/main" val="1655947427"/>
      </p:ext>
    </p:extLst>
  </p:cSld>
  <p:clrMapOvr>
    <a:masterClrMapping/>
  </p:clrMapOvr>
  <p:transition spd="slow">
    <p:push dir="u"/>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userDrawn="1">
  <p:cSld name="Large titl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57200" y="6003700"/>
            <a:ext cx="11277600" cy="822325"/>
          </a:xfrm>
        </p:spPr>
        <p:txBody>
          <a:bodyPr lIns="36000" tIns="144000">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7" name="Text Placeholder 6">
            <a:extLst>
              <a:ext uri="{FF2B5EF4-FFF2-40B4-BE49-F238E27FC236}">
                <a16:creationId xmlns:a16="http://schemas.microsoft.com/office/drawing/2014/main" id="{79EA84EC-0E0C-41F6-8286-BC5A87DC6C7B}"/>
              </a:ext>
            </a:extLst>
          </p:cNvPr>
          <p:cNvSpPr>
            <a:spLocks noGrp="1"/>
          </p:cNvSpPr>
          <p:nvPr>
            <p:ph type="body" sz="quarter" idx="10"/>
          </p:nvPr>
        </p:nvSpPr>
        <p:spPr>
          <a:xfrm>
            <a:off x="457200" y="1644650"/>
            <a:ext cx="11277600" cy="3567113"/>
          </a:xfrm>
        </p:spPr>
        <p:txBody>
          <a:bodyPr anchor="ctr" anchorCtr="0">
            <a:normAutofit/>
          </a:bodyPr>
          <a:lstStyle>
            <a:lvl1pPr marL="0" indent="0" algn="l">
              <a:lnSpc>
                <a:spcPct val="70000"/>
              </a:lnSpc>
              <a:buFontTx/>
              <a:buNone/>
              <a:defRPr sz="8000" b="1"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5" name="Image 4" descr="Une image contenant texte&#10;&#10;Description générée automatiquement">
            <a:extLst>
              <a:ext uri="{FF2B5EF4-FFF2-40B4-BE49-F238E27FC236}">
                <a16:creationId xmlns:a16="http://schemas.microsoft.com/office/drawing/2014/main" id="{D1A9B987-E149-4E99-9E1F-336980D5EC1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9672" y="260648"/>
            <a:ext cx="3024000" cy="1226177"/>
          </a:xfrm>
          <a:prstGeom prst="rect">
            <a:avLst/>
          </a:prstGeom>
        </p:spPr>
      </p:pic>
    </p:spTree>
    <p:extLst>
      <p:ext uri="{BB962C8B-B14F-4D97-AF65-F5344CB8AC3E}">
        <p14:creationId xmlns:p14="http://schemas.microsoft.com/office/powerpoint/2010/main" val="2710220492"/>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92814EB-708F-421C-9F3F-E5C7B767B62F}"/>
              </a:ext>
              <a:ext uri="{C183D7F6-B498-43B3-948B-1728B52AA6E4}">
                <adec:decorative xmlns:adec="http://schemas.microsoft.com/office/drawing/2017/decorative" val="1"/>
              </a:ext>
            </a:extLst>
          </p:cNvPr>
          <p:cNvSpPr>
            <a:spLocks noGrp="1"/>
          </p:cNvSpPr>
          <p:nvPr>
            <p:ph type="pic" sz="quarter" idx="10" hasCustomPrompt="1"/>
          </p:nvPr>
        </p:nvSpPr>
        <p:spPr>
          <a:xfrm>
            <a:off x="0" y="0"/>
            <a:ext cx="12192000" cy="68580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a:t>Insert picture, edit alt text and send </a:t>
            </a:r>
            <a:r>
              <a:rPr lang="de-DE" err="1"/>
              <a:t>to</a:t>
            </a:r>
            <a:r>
              <a:rPr lang="de-DE"/>
              <a:t> back</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3678123"/>
            <a:ext cx="11386134" cy="830997"/>
          </a:xfrm>
        </p:spPr>
        <p:txBody>
          <a:bodyPr wrap="square" lIns="36000" rIns="36000" bIns="0" anchor="b" anchorCtr="0">
            <a:spAutoFit/>
          </a:bodyPr>
          <a:lstStyle>
            <a:lvl1pPr algn="l">
              <a:lnSpc>
                <a:spcPct val="90000"/>
              </a:lnSpc>
              <a:defRPr sz="6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grpSp>
        <p:nvGrpSpPr>
          <p:cNvPr id="7" name="Group 6">
            <a:extLst>
              <a:ext uri="{FF2B5EF4-FFF2-40B4-BE49-F238E27FC236}">
                <a16:creationId xmlns:a16="http://schemas.microsoft.com/office/drawing/2014/main" id="{0240C396-6AE9-4D76-A223-20E91B036600}"/>
              </a:ext>
            </a:extLst>
          </p:cNvPr>
          <p:cNvGrpSpPr>
            <a:grpSpLocks noChangeAspect="1"/>
          </p:cNvGrpSpPr>
          <p:nvPr userDrawn="1"/>
        </p:nvGrpSpPr>
        <p:grpSpPr>
          <a:xfrm>
            <a:off x="9422540" y="611982"/>
            <a:ext cx="2267015" cy="509586"/>
            <a:chOff x="9550400" y="612775"/>
            <a:chExt cx="2231297" cy="501650"/>
          </a:xfrm>
        </p:grpSpPr>
        <p:sp>
          <p:nvSpPr>
            <p:cNvPr id="8" name="Freeform: Shape 7">
              <a:extLst>
                <a:ext uri="{FF2B5EF4-FFF2-40B4-BE49-F238E27FC236}">
                  <a16:creationId xmlns:a16="http://schemas.microsoft.com/office/drawing/2014/main" id="{FC704551-0A43-448B-9BC4-076647B2D2FA}"/>
                </a:ext>
              </a:extLst>
            </p:cNvPr>
            <p:cNvSpPr/>
            <p:nvPr/>
          </p:nvSpPr>
          <p:spPr>
            <a:xfrm>
              <a:off x="11517270" y="764033"/>
              <a:ext cx="261161" cy="212194"/>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9" name="Freeform: Shape 8">
              <a:extLst>
                <a:ext uri="{FF2B5EF4-FFF2-40B4-BE49-F238E27FC236}">
                  <a16:creationId xmlns:a16="http://schemas.microsoft.com/office/drawing/2014/main" id="{57D7C248-3780-4A7C-95A8-D356BF27AD73}"/>
                </a:ext>
              </a:extLst>
            </p:cNvPr>
            <p:cNvSpPr/>
            <p:nvPr/>
          </p:nvSpPr>
          <p:spPr>
            <a:xfrm>
              <a:off x="9550400" y="619305"/>
              <a:ext cx="1811806" cy="495120"/>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0" name="Freeform: Shape 9">
              <a:extLst>
                <a:ext uri="{FF2B5EF4-FFF2-40B4-BE49-F238E27FC236}">
                  <a16:creationId xmlns:a16="http://schemas.microsoft.com/office/drawing/2014/main" id="{217CBF3A-5C0A-4C4E-9FD3-E028E791FE81}"/>
                </a:ext>
              </a:extLst>
            </p:cNvPr>
            <p:cNvSpPr/>
            <p:nvPr/>
          </p:nvSpPr>
          <p:spPr>
            <a:xfrm>
              <a:off x="10915493" y="643771"/>
              <a:ext cx="54409" cy="59850"/>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1" name="Freeform: Shape 10">
              <a:extLst>
                <a:ext uri="{FF2B5EF4-FFF2-40B4-BE49-F238E27FC236}">
                  <a16:creationId xmlns:a16="http://schemas.microsoft.com/office/drawing/2014/main" id="{0CD80AA6-A949-4FC4-8CD0-6E6D7300DF2C}"/>
                </a:ext>
              </a:extLst>
            </p:cNvPr>
            <p:cNvSpPr/>
            <p:nvPr/>
          </p:nvSpPr>
          <p:spPr>
            <a:xfrm>
              <a:off x="11270254" y="654106"/>
              <a:ext cx="54409" cy="54409"/>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2" name="Freeform: Shape 11">
              <a:extLst>
                <a:ext uri="{FF2B5EF4-FFF2-40B4-BE49-F238E27FC236}">
                  <a16:creationId xmlns:a16="http://schemas.microsoft.com/office/drawing/2014/main" id="{E8743398-464F-49A4-8D54-C73C461670F9}"/>
                </a:ext>
              </a:extLst>
            </p:cNvPr>
            <p:cNvSpPr/>
            <p:nvPr/>
          </p:nvSpPr>
          <p:spPr>
            <a:xfrm>
              <a:off x="11384515" y="612775"/>
              <a:ext cx="397182" cy="331893"/>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Tree>
    <p:extLst>
      <p:ext uri="{BB962C8B-B14F-4D97-AF65-F5344CB8AC3E}">
        <p14:creationId xmlns:p14="http://schemas.microsoft.com/office/powerpoint/2010/main" val="207993478"/>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2EBDB0D-AC97-40F0-9DD9-F997B00816C8}"/>
              </a:ext>
              <a:ext uri="{C183D7F6-B498-43B3-948B-1728B52AA6E4}">
                <adec:decorative xmlns:adec="http://schemas.microsoft.com/office/drawing/2017/decorative" val="1"/>
              </a:ext>
            </a:extLst>
          </p:cNvPr>
          <p:cNvSpPr/>
          <p:nvPr userDrawn="1"/>
        </p:nvSpPr>
        <p:spPr>
          <a:xfrm>
            <a:off x="-1" y="0"/>
            <a:ext cx="474929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 name="Title 1">
            <a:extLst>
              <a:ext uri="{FF2B5EF4-FFF2-40B4-BE49-F238E27FC236}">
                <a16:creationId xmlns:a16="http://schemas.microsoft.com/office/drawing/2014/main" id="{4774F36F-3194-40C1-BFCB-D2FC8CB290B2}"/>
              </a:ext>
            </a:extLst>
          </p:cNvPr>
          <p:cNvSpPr>
            <a:spLocks noGrp="1"/>
          </p:cNvSpPr>
          <p:nvPr>
            <p:ph type="title"/>
          </p:nvPr>
        </p:nvSpPr>
        <p:spPr>
          <a:xfrm>
            <a:off x="404813" y="388188"/>
            <a:ext cx="4323035" cy="2392740"/>
          </a:xfrm>
        </p:spPr>
        <p:txBody>
          <a:bodyPr/>
          <a:lstStyle>
            <a:lvl1pPr>
              <a:defRPr sz="4000">
                <a:solidFill>
                  <a:schemeClr val="bg1"/>
                </a:solidFill>
              </a:defRPr>
            </a:lvl1pPr>
          </a:lstStyle>
          <a:p>
            <a:r>
              <a:rPr lang="en-US"/>
              <a:t>Click to edit Master title style</a:t>
            </a:r>
          </a:p>
        </p:txBody>
      </p:sp>
      <p:sp>
        <p:nvSpPr>
          <p:cNvPr id="5" name="Oval 20">
            <a:extLst>
              <a:ext uri="{FF2B5EF4-FFF2-40B4-BE49-F238E27FC236}">
                <a16:creationId xmlns:a16="http://schemas.microsoft.com/office/drawing/2014/main" id="{0B27F5C5-C656-4F2F-9EEE-B93F6E79E727}"/>
              </a:ext>
              <a:ext uri="{C183D7F6-B498-43B3-948B-1728B52AA6E4}">
                <adec:decorative xmlns:adec="http://schemas.microsoft.com/office/drawing/2017/decorative" val="1"/>
              </a:ext>
            </a:extLst>
          </p:cNvPr>
          <p:cNvSpPr/>
          <p:nvPr userDrawn="1"/>
        </p:nvSpPr>
        <p:spPr>
          <a:xfrm>
            <a:off x="5327637" y="71149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11B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Text Placeholder 4">
            <a:extLst>
              <a:ext uri="{FF2B5EF4-FFF2-40B4-BE49-F238E27FC236}">
                <a16:creationId xmlns:a16="http://schemas.microsoft.com/office/drawing/2014/main" id="{6C41C771-7ED2-45AF-884F-E0E275C6B347}"/>
              </a:ext>
            </a:extLst>
          </p:cNvPr>
          <p:cNvSpPr>
            <a:spLocks noGrp="1"/>
          </p:cNvSpPr>
          <p:nvPr>
            <p:ph type="body" sz="quarter" idx="35" hasCustomPrompt="1"/>
          </p:nvPr>
        </p:nvSpPr>
        <p:spPr>
          <a:xfrm>
            <a:off x="5498013" y="1040484"/>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6" name="Text Placeholder 4">
            <a:extLst>
              <a:ext uri="{FF2B5EF4-FFF2-40B4-BE49-F238E27FC236}">
                <a16:creationId xmlns:a16="http://schemas.microsoft.com/office/drawing/2014/main" id="{6A82ADF8-12C7-4D27-8457-7F3D1C93EB46}"/>
              </a:ext>
            </a:extLst>
          </p:cNvPr>
          <p:cNvSpPr>
            <a:spLocks noGrp="1"/>
          </p:cNvSpPr>
          <p:nvPr>
            <p:ph type="body" sz="quarter" idx="29" hasCustomPrompt="1"/>
          </p:nvPr>
        </p:nvSpPr>
        <p:spPr>
          <a:xfrm>
            <a:off x="6787432" y="518014"/>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7" name="Text Placeholder 7">
            <a:extLst>
              <a:ext uri="{FF2B5EF4-FFF2-40B4-BE49-F238E27FC236}">
                <a16:creationId xmlns:a16="http://schemas.microsoft.com/office/drawing/2014/main" id="{E18CF815-87D3-425A-8169-07DAC5996151}"/>
              </a:ext>
            </a:extLst>
          </p:cNvPr>
          <p:cNvSpPr>
            <a:spLocks noGrp="1"/>
          </p:cNvSpPr>
          <p:nvPr>
            <p:ph type="body" sz="quarter" idx="30" hasCustomPrompt="1"/>
          </p:nvPr>
        </p:nvSpPr>
        <p:spPr>
          <a:xfrm>
            <a:off x="6787433"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1"/>
            <a:r>
              <a:rPr lang="en-US"/>
              <a:t>Second level</a:t>
            </a:r>
          </a:p>
          <a:p>
            <a:pPr lvl="2"/>
            <a:r>
              <a:rPr lang="en-US"/>
              <a:t>Third level</a:t>
            </a:r>
          </a:p>
          <a:p>
            <a:pPr lvl="3"/>
            <a:r>
              <a:rPr lang="en-US"/>
              <a:t>Fourth level</a:t>
            </a:r>
          </a:p>
        </p:txBody>
      </p:sp>
      <p:sp>
        <p:nvSpPr>
          <p:cNvPr id="4" name="Oval 20">
            <a:extLst>
              <a:ext uri="{FF2B5EF4-FFF2-40B4-BE49-F238E27FC236}">
                <a16:creationId xmlns:a16="http://schemas.microsoft.com/office/drawing/2014/main" id="{71209714-A86B-492A-AC18-2DBD1D17EB98}"/>
              </a:ext>
              <a:ext uri="{C183D7F6-B498-43B3-948B-1728B52AA6E4}">
                <adec:decorative xmlns:adec="http://schemas.microsoft.com/office/drawing/2017/decorative" val="1"/>
              </a:ext>
            </a:extLst>
          </p:cNvPr>
          <p:cNvSpPr/>
          <p:nvPr userDrawn="1"/>
        </p:nvSpPr>
        <p:spPr>
          <a:xfrm>
            <a:off x="5327637" y="2656077"/>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590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Text Placeholder 4">
            <a:extLst>
              <a:ext uri="{FF2B5EF4-FFF2-40B4-BE49-F238E27FC236}">
                <a16:creationId xmlns:a16="http://schemas.microsoft.com/office/drawing/2014/main" id="{1CDF667B-1AA2-4981-B115-B40754E318E4}"/>
              </a:ext>
            </a:extLst>
          </p:cNvPr>
          <p:cNvSpPr>
            <a:spLocks noGrp="1"/>
          </p:cNvSpPr>
          <p:nvPr>
            <p:ph type="body" sz="quarter" idx="36" hasCustomPrompt="1"/>
          </p:nvPr>
        </p:nvSpPr>
        <p:spPr>
          <a:xfrm>
            <a:off x="5498013" y="299622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10" name="Text Placeholder 4">
            <a:extLst>
              <a:ext uri="{FF2B5EF4-FFF2-40B4-BE49-F238E27FC236}">
                <a16:creationId xmlns:a16="http://schemas.microsoft.com/office/drawing/2014/main" id="{949B542E-285C-4837-B671-696E4DC001E9}"/>
              </a:ext>
            </a:extLst>
          </p:cNvPr>
          <p:cNvSpPr>
            <a:spLocks noGrp="1"/>
          </p:cNvSpPr>
          <p:nvPr>
            <p:ph type="body" sz="quarter" idx="33" hasCustomPrompt="1"/>
          </p:nvPr>
        </p:nvSpPr>
        <p:spPr>
          <a:xfrm>
            <a:off x="6787432" y="2563381"/>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1" name="Text Placeholder 7">
            <a:extLst>
              <a:ext uri="{FF2B5EF4-FFF2-40B4-BE49-F238E27FC236}">
                <a16:creationId xmlns:a16="http://schemas.microsoft.com/office/drawing/2014/main" id="{09A45E63-A970-497F-9E53-8D389A8457FB}"/>
              </a:ext>
            </a:extLst>
          </p:cNvPr>
          <p:cNvSpPr>
            <a:spLocks noGrp="1"/>
          </p:cNvSpPr>
          <p:nvPr>
            <p:ph type="body" sz="quarter" idx="34" hasCustomPrompt="1"/>
          </p:nvPr>
        </p:nvSpPr>
        <p:spPr>
          <a:xfrm>
            <a:off x="6787433"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1"/>
            <a:r>
              <a:rPr lang="en-US"/>
              <a:t>Second level</a:t>
            </a:r>
          </a:p>
          <a:p>
            <a:pPr lvl="2"/>
            <a:r>
              <a:rPr lang="en-US"/>
              <a:t>Third level</a:t>
            </a:r>
          </a:p>
          <a:p>
            <a:pPr lvl="3"/>
            <a:r>
              <a:rPr lang="en-US"/>
              <a:t>Fourth level</a:t>
            </a:r>
          </a:p>
        </p:txBody>
      </p:sp>
      <p:sp>
        <p:nvSpPr>
          <p:cNvPr id="3" name="Oval 20">
            <a:extLst>
              <a:ext uri="{FF2B5EF4-FFF2-40B4-BE49-F238E27FC236}">
                <a16:creationId xmlns:a16="http://schemas.microsoft.com/office/drawing/2014/main" id="{F88C0E2C-E612-44EC-9013-AD68C65B671C}"/>
              </a:ext>
              <a:ext uri="{C183D7F6-B498-43B3-948B-1728B52AA6E4}">
                <adec:decorative xmlns:adec="http://schemas.microsoft.com/office/drawing/2017/decorative" val="1"/>
              </a:ext>
            </a:extLst>
          </p:cNvPr>
          <p:cNvSpPr/>
          <p:nvPr userDrawn="1"/>
        </p:nvSpPr>
        <p:spPr>
          <a:xfrm>
            <a:off x="5327637" y="478039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A60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Text Placeholder 4">
            <a:extLst>
              <a:ext uri="{FF2B5EF4-FFF2-40B4-BE49-F238E27FC236}">
                <a16:creationId xmlns:a16="http://schemas.microsoft.com/office/drawing/2014/main" id="{A411BF5D-81E9-4AC1-AE6D-53DC26B2ECA6}"/>
              </a:ext>
            </a:extLst>
          </p:cNvPr>
          <p:cNvSpPr>
            <a:spLocks noGrp="1"/>
          </p:cNvSpPr>
          <p:nvPr>
            <p:ph type="body" sz="quarter" idx="37" hasCustomPrompt="1"/>
          </p:nvPr>
        </p:nvSpPr>
        <p:spPr>
          <a:xfrm>
            <a:off x="5498013" y="510784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8" name="Text Placeholder 4">
            <a:extLst>
              <a:ext uri="{FF2B5EF4-FFF2-40B4-BE49-F238E27FC236}">
                <a16:creationId xmlns:a16="http://schemas.microsoft.com/office/drawing/2014/main" id="{42676D57-7318-4038-8625-151D4DD857E7}"/>
              </a:ext>
            </a:extLst>
          </p:cNvPr>
          <p:cNvSpPr>
            <a:spLocks noGrp="1"/>
          </p:cNvSpPr>
          <p:nvPr>
            <p:ph type="body" sz="quarter" idx="31" hasCustomPrompt="1"/>
          </p:nvPr>
        </p:nvSpPr>
        <p:spPr>
          <a:xfrm>
            <a:off x="6787432" y="4647262"/>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9" name="Text Placeholder 7">
            <a:extLst>
              <a:ext uri="{FF2B5EF4-FFF2-40B4-BE49-F238E27FC236}">
                <a16:creationId xmlns:a16="http://schemas.microsoft.com/office/drawing/2014/main" id="{9AB98D4C-7485-4468-A517-B5B92B48F38A}"/>
              </a:ext>
            </a:extLst>
          </p:cNvPr>
          <p:cNvSpPr>
            <a:spLocks noGrp="1"/>
          </p:cNvSpPr>
          <p:nvPr>
            <p:ph type="body" sz="quarter" idx="32" hasCustomPrompt="1"/>
          </p:nvPr>
        </p:nvSpPr>
        <p:spPr>
          <a:xfrm>
            <a:off x="6787433"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19905040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11" name="Title 1"/>
          <p:cNvSpPr>
            <a:spLocks noGrp="1"/>
          </p:cNvSpPr>
          <p:nvPr>
            <p:ph type="title"/>
          </p:nvPr>
        </p:nvSpPr>
        <p:spPr>
          <a:xfrm>
            <a:off x="227349" y="0"/>
            <a:ext cx="11125236" cy="1104900"/>
          </a:xfrm>
          <a:prstGeom prst="rect">
            <a:avLst/>
          </a:prstGeom>
        </p:spPr>
        <p:txBody>
          <a:bodyPr/>
          <a:lstStyle/>
          <a:p>
            <a:r>
              <a:rPr lang="en-US"/>
              <a:t>Click to edit Master title style</a:t>
            </a:r>
            <a:endParaRPr lang="en-GB"/>
          </a:p>
        </p:txBody>
      </p:sp>
      <p:sp>
        <p:nvSpPr>
          <p:cNvPr id="20" name="Picture Placeholder 47">
            <a:extLst>
              <a:ext uri="{FF2B5EF4-FFF2-40B4-BE49-F238E27FC236}">
                <a16:creationId xmlns:a16="http://schemas.microsoft.com/office/drawing/2014/main" id="{51CA337D-4B25-44C1-847A-AC0D74277B60}"/>
              </a:ext>
              <a:ext uri="{C183D7F6-B498-43B3-948B-1728B52AA6E4}">
                <adec:decorative xmlns:adec="http://schemas.microsoft.com/office/drawing/2017/decorative" val="1"/>
              </a:ext>
            </a:extLst>
          </p:cNvPr>
          <p:cNvSpPr>
            <a:spLocks noGrp="1"/>
          </p:cNvSpPr>
          <p:nvPr>
            <p:ph type="pic" sz="quarter" idx="19"/>
          </p:nvPr>
        </p:nvSpPr>
        <p:spPr>
          <a:xfrm>
            <a:off x="0" y="1192909"/>
            <a:ext cx="5591944" cy="5260428"/>
          </a:xfrm>
          <a:prstGeom prst="rect">
            <a:avLst/>
          </a:prstGeom>
        </p:spPr>
        <p:txBody>
          <a:bodyPr anchor="ctr"/>
          <a:lstStyle>
            <a:lvl1pPr algn="ctr">
              <a:defRPr/>
            </a:lvl1pPr>
          </a:lstStyle>
          <a:p>
            <a:r>
              <a:rPr lang="en-US"/>
              <a:t>Click icon to add picture</a:t>
            </a:r>
            <a:endParaRPr lang="pt-PT"/>
          </a:p>
        </p:txBody>
      </p:sp>
      <p:sp>
        <p:nvSpPr>
          <p:cNvPr id="12"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6600059" y="11929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3"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6600059" y="1865049"/>
            <a:ext cx="5007742"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4"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6600059" y="25371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5"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6600059" y="320932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6"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6600059" y="388146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7"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6600059" y="45536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8"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6600059" y="522574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9"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6600059" y="58978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Tree>
    <p:extLst>
      <p:ext uri="{BB962C8B-B14F-4D97-AF65-F5344CB8AC3E}">
        <p14:creationId xmlns:p14="http://schemas.microsoft.com/office/powerpoint/2010/main" val="28499739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9787129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subtitle and content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4335634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Tree>
    <p:extLst>
      <p:ext uri="{BB962C8B-B14F-4D97-AF65-F5344CB8AC3E}">
        <p14:creationId xmlns:p14="http://schemas.microsoft.com/office/powerpoint/2010/main" val="257380265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6237044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ontent 3 columns 1">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5257286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3 columns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a:p>
        </p:txBody>
      </p:sp>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336B7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336B7D"/>
              </a:buClr>
              <a:defRPr sz="1400"/>
            </a:lvl2pPr>
            <a:lvl3pPr>
              <a:lnSpc>
                <a:spcPct val="100000"/>
              </a:lnSpc>
              <a:spcBef>
                <a:spcPts val="0"/>
              </a:spcBef>
              <a:buClr>
                <a:srgbClr val="336B7D"/>
              </a:buClr>
              <a:defRPr sz="1400"/>
            </a:lvl3pPr>
            <a:lvl4pPr>
              <a:lnSpc>
                <a:spcPct val="100000"/>
              </a:lnSpc>
              <a:spcBef>
                <a:spcPts val="0"/>
              </a:spcBef>
              <a:buClr>
                <a:srgbClr val="336B7D"/>
              </a:buClr>
              <a:defRPr sz="1400"/>
            </a:lvl4pPr>
            <a:lvl5pPr>
              <a:lnSpc>
                <a:spcPct val="100000"/>
              </a:lnSpc>
              <a:spcBef>
                <a:spcPts val="0"/>
              </a:spcBef>
              <a:buClr>
                <a:srgbClr val="336B7D"/>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5913621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 uri="{C183D7F6-B498-43B3-948B-1728B52AA6E4}">
                <adec:decorative xmlns:adec="http://schemas.microsoft.com/office/drawing/2017/decorative" val="1"/>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edit alt text and send </a:t>
            </a:r>
            <a:r>
              <a:rPr lang="de-DE" err="1"/>
              <a:t>to</a:t>
            </a:r>
            <a:r>
              <a:rPr lang="de-DE"/>
              <a:t> back</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3180767254"/>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Onl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95635230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Content dark grey">
    <p:bg>
      <p:bgPr>
        <a:solidFill>
          <a:schemeClr val="accent4"/>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a:p>
        </p:txBody>
      </p:sp>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4812591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and content light Grey">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a:p>
        </p:txBody>
      </p:sp>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0853325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Section Break dark">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251163639"/>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Content RH image 2">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4" y="1161430"/>
            <a:ext cx="6627290" cy="1115442"/>
          </a:xfrm>
        </p:spPr>
        <p:txBody>
          <a:bodyPr vert="horz" lIns="0" tIns="0" rIns="0" bIns="0" rtlCol="0" anchor="b">
            <a:noAutofit/>
          </a:bodyPr>
          <a:lstStyle>
            <a:lvl1pPr>
              <a:defRPr lang="en-GB" sz="3600">
                <a:solidFill>
                  <a:schemeClr val="tx1"/>
                </a:solidFill>
              </a:defRPr>
            </a:lvl1pPr>
          </a:lstStyle>
          <a:p>
            <a:pPr lvl="0"/>
            <a:r>
              <a:rPr lang="en-US" noProof="0"/>
              <a:t>Click to edit Master title style</a:t>
            </a:r>
          </a:p>
        </p:txBody>
      </p:sp>
      <p:sp>
        <p:nvSpPr>
          <p:cNvPr id="5" name="Text Placeholder 4">
            <a:extLst>
              <a:ext uri="{FF2B5EF4-FFF2-40B4-BE49-F238E27FC236}">
                <a16:creationId xmlns:a16="http://schemas.microsoft.com/office/drawing/2014/main" id="{D410FA47-1FF8-451B-8532-F1B477524FA0}"/>
              </a:ext>
            </a:extLst>
          </p:cNvPr>
          <p:cNvSpPr>
            <a:spLocks noGrp="1"/>
          </p:cNvSpPr>
          <p:nvPr>
            <p:ph type="body" sz="quarter" idx="11"/>
          </p:nvPr>
        </p:nvSpPr>
        <p:spPr>
          <a:xfrm>
            <a:off x="404813" y="2492374"/>
            <a:ext cx="6627290" cy="2736825"/>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Picture Placeholder 13">
            <a:extLst>
              <a:ext uri="{FF2B5EF4-FFF2-40B4-BE49-F238E27FC236}">
                <a16:creationId xmlns:a16="http://schemas.microsoft.com/office/drawing/2014/main" id="{5C94FEA8-066A-4CC1-BFCC-10ED1764A21E}"/>
              </a:ext>
              <a:ext uri="{C183D7F6-B498-43B3-948B-1728B52AA6E4}">
                <adec:decorative xmlns:adec="http://schemas.microsoft.com/office/drawing/2017/decorative" val="1"/>
              </a:ext>
            </a:extLst>
          </p:cNvPr>
          <p:cNvSpPr>
            <a:spLocks noGrp="1"/>
          </p:cNvSpPr>
          <p:nvPr>
            <p:ph type="pic" sz="quarter" idx="10" hasCustomPrompt="1"/>
          </p:nvPr>
        </p:nvSpPr>
        <p:spPr>
          <a:xfrm>
            <a:off x="7223124" y="0"/>
            <a:ext cx="4968876" cy="6858000"/>
          </a:xfrm>
          <a:custGeom>
            <a:avLst/>
            <a:gdLst>
              <a:gd name="connsiteX0" fmla="*/ 4563423 w 4968876"/>
              <a:gd name="connsiteY0" fmla="*/ 205058 h 6858000"/>
              <a:gd name="connsiteX1" fmla="*/ 4339039 w 4968876"/>
              <a:gd name="connsiteY1" fmla="*/ 436971 h 6858000"/>
              <a:gd name="connsiteX2" fmla="*/ 4416767 w 4968876"/>
              <a:gd name="connsiteY2" fmla="*/ 551459 h 6858000"/>
              <a:gd name="connsiteX3" fmla="*/ 4495961 w 4968876"/>
              <a:gd name="connsiteY3" fmla="*/ 552927 h 6858000"/>
              <a:gd name="connsiteX4" fmla="*/ 4528042 w 4968876"/>
              <a:gd name="connsiteY4" fmla="*/ 536965 h 6858000"/>
              <a:gd name="connsiteX5" fmla="*/ 4554424 w 4968876"/>
              <a:gd name="connsiteY5" fmla="*/ 513474 h 6858000"/>
              <a:gd name="connsiteX6" fmla="*/ 4547380 w 4968876"/>
              <a:gd name="connsiteY6" fmla="*/ 536398 h 6858000"/>
              <a:gd name="connsiteX7" fmla="*/ 4482579 w 4968876"/>
              <a:gd name="connsiteY7" fmla="*/ 579359 h 6858000"/>
              <a:gd name="connsiteX8" fmla="*/ 4536878 w 4968876"/>
              <a:gd name="connsiteY8" fmla="*/ 594046 h 6858000"/>
              <a:gd name="connsiteX9" fmla="*/ 4666020 w 4968876"/>
              <a:gd name="connsiteY9" fmla="*/ 551453 h 6858000"/>
              <a:gd name="connsiteX10" fmla="*/ 4601449 w 4968876"/>
              <a:gd name="connsiteY10" fmla="*/ 494172 h 6858000"/>
              <a:gd name="connsiteX11" fmla="*/ 4666020 w 4968876"/>
              <a:gd name="connsiteY11" fmla="*/ 525016 h 6858000"/>
              <a:gd name="connsiteX12" fmla="*/ 4751252 w 4968876"/>
              <a:gd name="connsiteY12" fmla="*/ 467391 h 6858000"/>
              <a:gd name="connsiteX13" fmla="*/ 4758467 w 4968876"/>
              <a:gd name="connsiteY13" fmla="*/ 431058 h 6858000"/>
              <a:gd name="connsiteX14" fmla="*/ 4758475 w 4968876"/>
              <a:gd name="connsiteY14" fmla="*/ 431100 h 6858000"/>
              <a:gd name="connsiteX15" fmla="*/ 4758475 w 4968876"/>
              <a:gd name="connsiteY15" fmla="*/ 431017 h 6858000"/>
              <a:gd name="connsiteX16" fmla="*/ 4758475 w 4968876"/>
              <a:gd name="connsiteY16" fmla="*/ 428164 h 6858000"/>
              <a:gd name="connsiteX17" fmla="*/ 4686614 w 4968876"/>
              <a:gd name="connsiteY17" fmla="*/ 279916 h 6858000"/>
              <a:gd name="connsiteX18" fmla="*/ 4573689 w 4968876"/>
              <a:gd name="connsiteY18" fmla="*/ 209461 h 6858000"/>
              <a:gd name="connsiteX19" fmla="*/ 4563423 w 4968876"/>
              <a:gd name="connsiteY19" fmla="*/ 205058 h 6858000"/>
              <a:gd name="connsiteX20" fmla="*/ 0 w 4968876"/>
              <a:gd name="connsiteY20" fmla="*/ 0 h 6858000"/>
              <a:gd name="connsiteX21" fmla="*/ 4968876 w 4968876"/>
              <a:gd name="connsiteY21" fmla="*/ 0 h 6858000"/>
              <a:gd name="connsiteX22" fmla="*/ 4968876 w 4968876"/>
              <a:gd name="connsiteY22" fmla="*/ 6858000 h 6858000"/>
              <a:gd name="connsiteX23" fmla="*/ 0 w 496887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68876" h="6858000">
                <a:moveTo>
                  <a:pt x="4563423" y="205058"/>
                </a:moveTo>
                <a:cubicBezTo>
                  <a:pt x="4513560" y="265238"/>
                  <a:pt x="4339039" y="310740"/>
                  <a:pt x="4339039" y="436971"/>
                </a:cubicBezTo>
                <a:cubicBezTo>
                  <a:pt x="4339039" y="486876"/>
                  <a:pt x="4369837" y="533846"/>
                  <a:pt x="4416767" y="551459"/>
                </a:cubicBezTo>
                <a:cubicBezTo>
                  <a:pt x="4443165" y="561734"/>
                  <a:pt x="4469563" y="561734"/>
                  <a:pt x="4495961" y="552927"/>
                </a:cubicBezTo>
                <a:cubicBezTo>
                  <a:pt x="4507694" y="549258"/>
                  <a:pt x="4518326" y="543753"/>
                  <a:pt x="4528042" y="536965"/>
                </a:cubicBezTo>
                <a:lnTo>
                  <a:pt x="4554424" y="513474"/>
                </a:lnTo>
                <a:lnTo>
                  <a:pt x="4547380" y="536398"/>
                </a:lnTo>
                <a:cubicBezTo>
                  <a:pt x="4535685" y="558154"/>
                  <a:pt x="4511196" y="574953"/>
                  <a:pt x="4482579" y="579359"/>
                </a:cubicBezTo>
                <a:cubicBezTo>
                  <a:pt x="4491384" y="588171"/>
                  <a:pt x="4511930" y="594046"/>
                  <a:pt x="4536878" y="594046"/>
                </a:cubicBezTo>
                <a:cubicBezTo>
                  <a:pt x="4582371" y="594046"/>
                  <a:pt x="4638137" y="580827"/>
                  <a:pt x="4666020" y="551453"/>
                </a:cubicBezTo>
                <a:cubicBezTo>
                  <a:pt x="4627865" y="552921"/>
                  <a:pt x="4602917" y="527953"/>
                  <a:pt x="4601449" y="494172"/>
                </a:cubicBezTo>
                <a:cubicBezTo>
                  <a:pt x="4619059" y="516203"/>
                  <a:pt x="4641072" y="525016"/>
                  <a:pt x="4666020" y="525016"/>
                </a:cubicBezTo>
                <a:cubicBezTo>
                  <a:pt x="4704543" y="525016"/>
                  <a:pt x="4737287" y="501057"/>
                  <a:pt x="4751252" y="467391"/>
                </a:cubicBezTo>
                <a:lnTo>
                  <a:pt x="4758467" y="431058"/>
                </a:lnTo>
                <a:lnTo>
                  <a:pt x="4758475" y="431100"/>
                </a:lnTo>
                <a:lnTo>
                  <a:pt x="4758475" y="431017"/>
                </a:lnTo>
                <a:lnTo>
                  <a:pt x="4758475" y="428164"/>
                </a:lnTo>
                <a:cubicBezTo>
                  <a:pt x="4758475" y="369452"/>
                  <a:pt x="4729144" y="319547"/>
                  <a:pt x="4686614" y="279916"/>
                </a:cubicBezTo>
                <a:cubicBezTo>
                  <a:pt x="4654349" y="249092"/>
                  <a:pt x="4614752" y="227075"/>
                  <a:pt x="4573689" y="209461"/>
                </a:cubicBezTo>
                <a:cubicBezTo>
                  <a:pt x="4570755" y="207994"/>
                  <a:pt x="4567822" y="206526"/>
                  <a:pt x="4563423" y="205058"/>
                </a:cubicBezTo>
                <a:close/>
                <a:moveTo>
                  <a:pt x="0" y="0"/>
                </a:moveTo>
                <a:lnTo>
                  <a:pt x="4968876" y="0"/>
                </a:lnTo>
                <a:lnTo>
                  <a:pt x="496887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noProof="0"/>
              <a:t>Click icon to add picture with alt text</a:t>
            </a:r>
          </a:p>
        </p:txBody>
      </p:sp>
    </p:spTree>
    <p:extLst>
      <p:ext uri="{BB962C8B-B14F-4D97-AF65-F5344CB8AC3E}">
        <p14:creationId xmlns:p14="http://schemas.microsoft.com/office/powerpoint/2010/main" val="74664917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Large title &amp; large RH image 1">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3" y="692696"/>
            <a:ext cx="4562476" cy="2421466"/>
          </a:xfrm>
        </p:spPr>
        <p:txBody>
          <a:bodyPr vert="horz" lIns="72000" tIns="0" rIns="0" bIns="0" rtlCol="0" anchor="b">
            <a:noAutofit/>
          </a:bodyPr>
          <a:lstStyle>
            <a:lvl1pPr>
              <a:lnSpc>
                <a:spcPct val="80000"/>
              </a:lnSpc>
              <a:defRPr lang="en-GB" sz="5400">
                <a:solidFill>
                  <a:schemeClr val="bg1"/>
                </a:solidFill>
              </a:defRPr>
            </a:lvl1pPr>
          </a:lstStyle>
          <a:p>
            <a:pPr lvl="0"/>
            <a:r>
              <a:rPr lang="en-US"/>
              <a:t>Click to edit Master title style</a:t>
            </a:r>
            <a:endParaRPr lang="en-GB"/>
          </a:p>
        </p:txBody>
      </p:sp>
      <p:sp>
        <p:nvSpPr>
          <p:cNvPr id="10" name="Espace réservé du texte 9">
            <a:extLst>
              <a:ext uri="{FF2B5EF4-FFF2-40B4-BE49-F238E27FC236}">
                <a16:creationId xmlns:a16="http://schemas.microsoft.com/office/drawing/2014/main" id="{FC6DF15B-7249-491B-BFB7-9A33784178CD}"/>
              </a:ext>
            </a:extLst>
          </p:cNvPr>
          <p:cNvSpPr>
            <a:spLocks noGrp="1"/>
          </p:cNvSpPr>
          <p:nvPr>
            <p:ph type="body" sz="quarter" idx="12"/>
          </p:nvPr>
        </p:nvSpPr>
        <p:spPr>
          <a:xfrm>
            <a:off x="404813" y="3573040"/>
            <a:ext cx="4395787" cy="2808288"/>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Picture Placeholder 12">
            <a:extLst>
              <a:ext uri="{FF2B5EF4-FFF2-40B4-BE49-F238E27FC236}">
                <a16:creationId xmlns:a16="http://schemas.microsoft.com/office/drawing/2014/main" id="{5586E72C-F96D-4BE1-996B-39A71EA977D3}"/>
              </a:ext>
              <a:ext uri="{C183D7F6-B498-43B3-948B-1728B52AA6E4}">
                <adec:decorative xmlns:adec="http://schemas.microsoft.com/office/drawing/2017/decorative" val="1"/>
              </a:ext>
            </a:extLst>
          </p:cNvPr>
          <p:cNvSpPr>
            <a:spLocks noGrp="1"/>
          </p:cNvSpPr>
          <p:nvPr>
            <p:ph type="pic" sz="quarter" idx="10" hasCustomPrompt="1"/>
          </p:nvPr>
        </p:nvSpPr>
        <p:spPr>
          <a:xfrm>
            <a:off x="5128004" y="0"/>
            <a:ext cx="7063996" cy="6858000"/>
          </a:xfrm>
          <a:custGeom>
            <a:avLst/>
            <a:gdLst>
              <a:gd name="connsiteX0" fmla="*/ 6658543 w 7063996"/>
              <a:gd name="connsiteY0" fmla="*/ 205058 h 6858000"/>
              <a:gd name="connsiteX1" fmla="*/ 6434159 w 7063996"/>
              <a:gd name="connsiteY1" fmla="*/ 436971 h 6858000"/>
              <a:gd name="connsiteX2" fmla="*/ 6511887 w 7063996"/>
              <a:gd name="connsiteY2" fmla="*/ 551459 h 6858000"/>
              <a:gd name="connsiteX3" fmla="*/ 6591081 w 7063996"/>
              <a:gd name="connsiteY3" fmla="*/ 552927 h 6858000"/>
              <a:gd name="connsiteX4" fmla="*/ 6623162 w 7063996"/>
              <a:gd name="connsiteY4" fmla="*/ 536965 h 6858000"/>
              <a:gd name="connsiteX5" fmla="*/ 6649544 w 7063996"/>
              <a:gd name="connsiteY5" fmla="*/ 513474 h 6858000"/>
              <a:gd name="connsiteX6" fmla="*/ 6642500 w 7063996"/>
              <a:gd name="connsiteY6" fmla="*/ 536398 h 6858000"/>
              <a:gd name="connsiteX7" fmla="*/ 6577699 w 7063996"/>
              <a:gd name="connsiteY7" fmla="*/ 579359 h 6858000"/>
              <a:gd name="connsiteX8" fmla="*/ 6631998 w 7063996"/>
              <a:gd name="connsiteY8" fmla="*/ 594046 h 6858000"/>
              <a:gd name="connsiteX9" fmla="*/ 6761140 w 7063996"/>
              <a:gd name="connsiteY9" fmla="*/ 551453 h 6858000"/>
              <a:gd name="connsiteX10" fmla="*/ 6696569 w 7063996"/>
              <a:gd name="connsiteY10" fmla="*/ 494172 h 6858000"/>
              <a:gd name="connsiteX11" fmla="*/ 6761140 w 7063996"/>
              <a:gd name="connsiteY11" fmla="*/ 525016 h 6858000"/>
              <a:gd name="connsiteX12" fmla="*/ 6846372 w 7063996"/>
              <a:gd name="connsiteY12" fmla="*/ 467391 h 6858000"/>
              <a:gd name="connsiteX13" fmla="*/ 6853587 w 7063996"/>
              <a:gd name="connsiteY13" fmla="*/ 431058 h 6858000"/>
              <a:gd name="connsiteX14" fmla="*/ 6853595 w 7063996"/>
              <a:gd name="connsiteY14" fmla="*/ 431100 h 6858000"/>
              <a:gd name="connsiteX15" fmla="*/ 6853595 w 7063996"/>
              <a:gd name="connsiteY15" fmla="*/ 431017 h 6858000"/>
              <a:gd name="connsiteX16" fmla="*/ 6853595 w 7063996"/>
              <a:gd name="connsiteY16" fmla="*/ 428164 h 6858000"/>
              <a:gd name="connsiteX17" fmla="*/ 6781734 w 7063996"/>
              <a:gd name="connsiteY17" fmla="*/ 279916 h 6858000"/>
              <a:gd name="connsiteX18" fmla="*/ 6668809 w 7063996"/>
              <a:gd name="connsiteY18" fmla="*/ 209461 h 6858000"/>
              <a:gd name="connsiteX19" fmla="*/ 6658543 w 7063996"/>
              <a:gd name="connsiteY19" fmla="*/ 205058 h 6858000"/>
              <a:gd name="connsiteX20" fmla="*/ 0 w 7063996"/>
              <a:gd name="connsiteY20" fmla="*/ 0 h 6858000"/>
              <a:gd name="connsiteX21" fmla="*/ 7063996 w 7063996"/>
              <a:gd name="connsiteY21" fmla="*/ 0 h 6858000"/>
              <a:gd name="connsiteX22" fmla="*/ 7063996 w 7063996"/>
              <a:gd name="connsiteY22" fmla="*/ 6858000 h 6858000"/>
              <a:gd name="connsiteX23" fmla="*/ 0 w 706399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063996" h="6858000">
                <a:moveTo>
                  <a:pt x="6658543" y="205058"/>
                </a:moveTo>
                <a:cubicBezTo>
                  <a:pt x="6608680" y="265238"/>
                  <a:pt x="6434159" y="310740"/>
                  <a:pt x="6434159" y="436971"/>
                </a:cubicBezTo>
                <a:cubicBezTo>
                  <a:pt x="6434159" y="486876"/>
                  <a:pt x="6464957" y="533846"/>
                  <a:pt x="6511887" y="551459"/>
                </a:cubicBezTo>
                <a:cubicBezTo>
                  <a:pt x="6538285" y="561734"/>
                  <a:pt x="6564683" y="561734"/>
                  <a:pt x="6591081" y="552927"/>
                </a:cubicBezTo>
                <a:cubicBezTo>
                  <a:pt x="6602814" y="549258"/>
                  <a:pt x="6613446" y="543753"/>
                  <a:pt x="6623162" y="536965"/>
                </a:cubicBezTo>
                <a:lnTo>
                  <a:pt x="6649544" y="513474"/>
                </a:lnTo>
                <a:lnTo>
                  <a:pt x="6642500" y="536398"/>
                </a:lnTo>
                <a:cubicBezTo>
                  <a:pt x="6630805" y="558154"/>
                  <a:pt x="6606316" y="574953"/>
                  <a:pt x="6577699" y="579359"/>
                </a:cubicBezTo>
                <a:cubicBezTo>
                  <a:pt x="6586504" y="588171"/>
                  <a:pt x="6607050" y="594046"/>
                  <a:pt x="6631998" y="594046"/>
                </a:cubicBezTo>
                <a:cubicBezTo>
                  <a:pt x="6677491" y="594046"/>
                  <a:pt x="6733257" y="580827"/>
                  <a:pt x="6761140" y="551453"/>
                </a:cubicBezTo>
                <a:cubicBezTo>
                  <a:pt x="6722985" y="552921"/>
                  <a:pt x="6698037" y="527953"/>
                  <a:pt x="6696569" y="494172"/>
                </a:cubicBezTo>
                <a:cubicBezTo>
                  <a:pt x="6714179" y="516203"/>
                  <a:pt x="6736192" y="525016"/>
                  <a:pt x="6761140" y="525016"/>
                </a:cubicBezTo>
                <a:cubicBezTo>
                  <a:pt x="6799663" y="525016"/>
                  <a:pt x="6832407" y="501057"/>
                  <a:pt x="6846372" y="467391"/>
                </a:cubicBezTo>
                <a:lnTo>
                  <a:pt x="6853587" y="431058"/>
                </a:lnTo>
                <a:lnTo>
                  <a:pt x="6853595" y="431100"/>
                </a:lnTo>
                <a:lnTo>
                  <a:pt x="6853595" y="431017"/>
                </a:lnTo>
                <a:lnTo>
                  <a:pt x="6853595" y="428164"/>
                </a:lnTo>
                <a:cubicBezTo>
                  <a:pt x="6853595" y="369452"/>
                  <a:pt x="6824264" y="319547"/>
                  <a:pt x="6781734" y="279916"/>
                </a:cubicBezTo>
                <a:cubicBezTo>
                  <a:pt x="6749469" y="249092"/>
                  <a:pt x="6709872" y="227075"/>
                  <a:pt x="6668809" y="209461"/>
                </a:cubicBezTo>
                <a:cubicBezTo>
                  <a:pt x="6665875" y="207994"/>
                  <a:pt x="6662942" y="206526"/>
                  <a:pt x="6658543" y="205058"/>
                </a:cubicBezTo>
                <a:close/>
                <a:moveTo>
                  <a:pt x="0" y="0"/>
                </a:moveTo>
                <a:lnTo>
                  <a:pt x="7063996" y="0"/>
                </a:lnTo>
                <a:lnTo>
                  <a:pt x="706399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 with alt text</a:t>
            </a:r>
            <a:endParaRPr lang="en-GB"/>
          </a:p>
        </p:txBody>
      </p:sp>
    </p:spTree>
    <p:extLst>
      <p:ext uri="{BB962C8B-B14F-4D97-AF65-F5344CB8AC3E}">
        <p14:creationId xmlns:p14="http://schemas.microsoft.com/office/powerpoint/2010/main" val="329653645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8668578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 uri="{C183D7F6-B498-43B3-948B-1728B52AA6E4}">
                <adec:decorative xmlns:adec="http://schemas.microsoft.com/office/drawing/2017/decorative" val="1"/>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1"/>
                </a:solidFill>
              </a:defRPr>
            </a:lvl1pPr>
          </a:lstStyle>
          <a:p>
            <a:r>
              <a:rPr lang="de-DE"/>
              <a:t>Insert picture, edit alt text and send </a:t>
            </a:r>
            <a:r>
              <a:rPr lang="de-DE" err="1"/>
              <a:t>to</a:t>
            </a:r>
            <a:r>
              <a:rPr lang="de-DE"/>
              <a:t> back</a:t>
            </a:r>
          </a:p>
        </p:txBody>
      </p:sp>
    </p:spTree>
    <p:extLst>
      <p:ext uri="{BB962C8B-B14F-4D97-AF65-F5344CB8AC3E}">
        <p14:creationId xmlns:p14="http://schemas.microsoft.com/office/powerpoint/2010/main" val="41300415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 uri="{C183D7F6-B498-43B3-948B-1728B52AA6E4}">
                <adec:decorative xmlns:adec="http://schemas.microsoft.com/office/drawing/2017/decorative" val="1"/>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a:t>Insert picture, add alt text and send </a:t>
            </a:r>
            <a:r>
              <a:rPr lang="de-DE" err="1"/>
              <a:t>to</a:t>
            </a:r>
            <a:r>
              <a:rPr lang="de-DE"/>
              <a:t> back</a:t>
            </a:r>
          </a:p>
        </p:txBody>
      </p:sp>
    </p:spTree>
    <p:extLst>
      <p:ext uri="{BB962C8B-B14F-4D97-AF65-F5344CB8AC3E}">
        <p14:creationId xmlns:p14="http://schemas.microsoft.com/office/powerpoint/2010/main" val="352447093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cSld name="Large titl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57200" y="4958425"/>
            <a:ext cx="11277600" cy="822325"/>
          </a:xfrm>
        </p:spPr>
        <p:txBody>
          <a:bodyPr lIns="36000" tIns="144000">
            <a:normAutofit/>
          </a:bodyPr>
          <a:lstStyle>
            <a:lvl1pPr marL="0" indent="0" algn="l">
              <a:buNone/>
              <a:defRPr sz="20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7" name="Text Placeholder 6">
            <a:extLst>
              <a:ext uri="{FF2B5EF4-FFF2-40B4-BE49-F238E27FC236}">
                <a16:creationId xmlns:a16="http://schemas.microsoft.com/office/drawing/2014/main" id="{79EA84EC-0E0C-41F6-8286-BC5A87DC6C7B}"/>
              </a:ext>
            </a:extLst>
          </p:cNvPr>
          <p:cNvSpPr>
            <a:spLocks noGrp="1"/>
          </p:cNvSpPr>
          <p:nvPr>
            <p:ph type="body" sz="quarter" idx="10" hasCustomPrompt="1"/>
          </p:nvPr>
        </p:nvSpPr>
        <p:spPr>
          <a:xfrm>
            <a:off x="457200" y="2135545"/>
            <a:ext cx="11277600" cy="2585323"/>
          </a:xfrm>
        </p:spPr>
        <p:txBody>
          <a:bodyPr anchor="ctr" anchorCtr="0">
            <a:spAutoFit/>
          </a:bodyPr>
          <a:lstStyle>
            <a:lvl1pPr marL="0" indent="0" algn="l">
              <a:lnSpc>
                <a:spcPct val="70000"/>
              </a:lnSpc>
              <a:spcAft>
                <a:spcPts val="0"/>
              </a:spcAft>
              <a:buFontTx/>
              <a:buNone/>
              <a:defRPr sz="8000" b="1" cap="all"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liquez pour modifier les styles du texte du masque</a:t>
            </a:r>
          </a:p>
        </p:txBody>
      </p:sp>
      <p:grpSp>
        <p:nvGrpSpPr>
          <p:cNvPr id="6" name="Group 5">
            <a:extLst>
              <a:ext uri="{FF2B5EF4-FFF2-40B4-BE49-F238E27FC236}">
                <a16:creationId xmlns:a16="http://schemas.microsoft.com/office/drawing/2014/main" id="{53E1ECB5-DB51-4283-B8B9-FBB99B30DDDA}"/>
              </a:ext>
            </a:extLst>
          </p:cNvPr>
          <p:cNvGrpSpPr>
            <a:grpSpLocks noChangeAspect="1"/>
          </p:cNvGrpSpPr>
          <p:nvPr userDrawn="1"/>
        </p:nvGrpSpPr>
        <p:grpSpPr>
          <a:xfrm>
            <a:off x="516023" y="622911"/>
            <a:ext cx="2231297" cy="501650"/>
            <a:chOff x="9550400" y="612775"/>
            <a:chExt cx="2231297" cy="501650"/>
          </a:xfrm>
        </p:grpSpPr>
        <p:sp>
          <p:nvSpPr>
            <p:cNvPr id="8" name="Freeform: Shape 7">
              <a:extLst>
                <a:ext uri="{FF2B5EF4-FFF2-40B4-BE49-F238E27FC236}">
                  <a16:creationId xmlns:a16="http://schemas.microsoft.com/office/drawing/2014/main" id="{648307B4-0823-4CCD-9A0B-FC8313B6A1CE}"/>
                </a:ext>
              </a:extLst>
            </p:cNvPr>
            <p:cNvSpPr/>
            <p:nvPr/>
          </p:nvSpPr>
          <p:spPr>
            <a:xfrm>
              <a:off x="11517270" y="764033"/>
              <a:ext cx="261161" cy="212194"/>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9" name="Freeform: Shape 8">
              <a:extLst>
                <a:ext uri="{FF2B5EF4-FFF2-40B4-BE49-F238E27FC236}">
                  <a16:creationId xmlns:a16="http://schemas.microsoft.com/office/drawing/2014/main" id="{0EF37526-68C2-4CC7-BFA8-D9A1ECDD5F86}"/>
                </a:ext>
              </a:extLst>
            </p:cNvPr>
            <p:cNvSpPr/>
            <p:nvPr/>
          </p:nvSpPr>
          <p:spPr>
            <a:xfrm>
              <a:off x="9550400" y="619305"/>
              <a:ext cx="1811806" cy="495120"/>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0" name="Freeform: Shape 9">
              <a:extLst>
                <a:ext uri="{FF2B5EF4-FFF2-40B4-BE49-F238E27FC236}">
                  <a16:creationId xmlns:a16="http://schemas.microsoft.com/office/drawing/2014/main" id="{031D688A-C2B9-40DF-8BDB-7397CB9DF4C1}"/>
                </a:ext>
              </a:extLst>
            </p:cNvPr>
            <p:cNvSpPr/>
            <p:nvPr/>
          </p:nvSpPr>
          <p:spPr>
            <a:xfrm>
              <a:off x="10915493" y="643771"/>
              <a:ext cx="54409" cy="59850"/>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1" name="Freeform: Shape 10">
              <a:extLst>
                <a:ext uri="{FF2B5EF4-FFF2-40B4-BE49-F238E27FC236}">
                  <a16:creationId xmlns:a16="http://schemas.microsoft.com/office/drawing/2014/main" id="{808CDC8B-4E52-45D7-922E-07333CE529A6}"/>
                </a:ext>
              </a:extLst>
            </p:cNvPr>
            <p:cNvSpPr/>
            <p:nvPr/>
          </p:nvSpPr>
          <p:spPr>
            <a:xfrm>
              <a:off x="11270254" y="654106"/>
              <a:ext cx="54409" cy="54409"/>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2" name="Freeform: Shape 11">
              <a:extLst>
                <a:ext uri="{FF2B5EF4-FFF2-40B4-BE49-F238E27FC236}">
                  <a16:creationId xmlns:a16="http://schemas.microsoft.com/office/drawing/2014/main" id="{8515A298-0196-4231-B123-8DDB35B79DA6}"/>
                </a:ext>
              </a:extLst>
            </p:cNvPr>
            <p:cNvSpPr/>
            <p:nvPr/>
          </p:nvSpPr>
          <p:spPr>
            <a:xfrm>
              <a:off x="11384515" y="612775"/>
              <a:ext cx="397182" cy="331893"/>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Tree>
    <p:extLst>
      <p:ext uri="{BB962C8B-B14F-4D97-AF65-F5344CB8AC3E}">
        <p14:creationId xmlns:p14="http://schemas.microsoft.com/office/powerpoint/2010/main" val="3324041728"/>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Hoja principal">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a:xfrm>
            <a:off x="120718" y="130726"/>
            <a:ext cx="10947772" cy="978979"/>
          </a:xfrm>
        </p:spPr>
        <p:txBody>
          <a:bodyPr vert="horz" lIns="0" tIns="0" rIns="0" bIns="0" rtlCol="0" anchor="ctr">
            <a:noAutofit/>
          </a:bodyPr>
          <a:lstStyle>
            <a:lvl1pPr>
              <a:defRPr lang="de-DE" cap="none"/>
            </a:lvl1pPr>
          </a:lstStyle>
          <a:p>
            <a:pPr lvl="0"/>
            <a:r>
              <a:rPr lang="en-US" dirty="0"/>
              <a:t>Click to edit Master title style</a:t>
            </a:r>
            <a:endParaRPr lang="de-DE" dirty="0"/>
          </a:p>
        </p:txBody>
      </p:sp>
    </p:spTree>
    <p:extLst>
      <p:ext uri="{BB962C8B-B14F-4D97-AF65-F5344CB8AC3E}">
        <p14:creationId xmlns:p14="http://schemas.microsoft.com/office/powerpoint/2010/main" val="419338602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28" name="Image 27">
            <a:extLst>
              <a:ext uri="{FF2B5EF4-FFF2-40B4-BE49-F238E27FC236}">
                <a16:creationId xmlns:a16="http://schemas.microsoft.com/office/drawing/2014/main" id="{CFD4BD67-7A96-4F02-AD8B-7157189FD651}"/>
              </a:ext>
              <a:ext uri="{C183D7F6-B498-43B3-948B-1728B52AA6E4}">
                <adec:decorative xmlns:adec="http://schemas.microsoft.com/office/drawing/2017/decorative" val="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rot="1808368" flipV="1">
            <a:off x="4403152" y="337083"/>
            <a:ext cx="8831279" cy="4103533"/>
          </a:xfrm>
          <a:prstGeom prst="rect">
            <a:avLst/>
          </a:prstGeom>
        </p:spPr>
      </p:pic>
      <p:pic>
        <p:nvPicPr>
          <p:cNvPr id="21" name="Picture 7" descr="facebook">
            <a:hlinkClick r:id="rId3"/>
          </p:cNvPr>
          <p:cNvPicPr>
            <a:picLocks noChangeAspect="1" noChangeArrowheads="1"/>
          </p:cNvPicPr>
          <p:nvPr/>
        </p:nvPicPr>
        <p:blipFill>
          <a:blip r:embed="rId4" cstate="print"/>
          <a:srcRect/>
          <a:stretch>
            <a:fillRect/>
          </a:stretch>
        </p:blipFill>
        <p:spPr bwMode="auto">
          <a:xfrm>
            <a:off x="426720" y="4968013"/>
            <a:ext cx="333195" cy="333195"/>
          </a:xfrm>
          <a:prstGeom prst="rect">
            <a:avLst/>
          </a:prstGeom>
          <a:noFill/>
        </p:spPr>
      </p:pic>
      <p:pic>
        <p:nvPicPr>
          <p:cNvPr id="17" name="Picture 2" descr="LinkedIn">
            <a:hlinkClick r:id="rId5"/>
          </p:cNvPr>
          <p:cNvPicPr>
            <a:picLocks noChangeAspect="1" noChangeArrowheads="1"/>
          </p:cNvPicPr>
          <p:nvPr/>
        </p:nvPicPr>
        <p:blipFill>
          <a:blip r:embed="rId6" cstate="print"/>
          <a:srcRect/>
          <a:stretch>
            <a:fillRect/>
          </a:stretch>
        </p:blipFill>
        <p:spPr bwMode="auto">
          <a:xfrm>
            <a:off x="810097" y="4968013"/>
            <a:ext cx="333195" cy="333195"/>
          </a:xfrm>
          <a:prstGeom prst="rect">
            <a:avLst/>
          </a:prstGeom>
          <a:noFill/>
        </p:spPr>
      </p:pic>
      <p:pic>
        <p:nvPicPr>
          <p:cNvPr id="18" name="Picture 4" descr="SlideShare">
            <a:hlinkClick r:id="rId7"/>
          </p:cNvPr>
          <p:cNvPicPr>
            <a:picLocks noChangeAspect="1" noChangeArrowheads="1"/>
          </p:cNvPicPr>
          <p:nvPr/>
        </p:nvPicPr>
        <p:blipFill>
          <a:blip r:embed="rId8" cstate="print"/>
          <a:srcRect/>
          <a:stretch>
            <a:fillRect/>
          </a:stretch>
        </p:blipFill>
        <p:spPr bwMode="auto">
          <a:xfrm>
            <a:off x="1193474" y="4968013"/>
            <a:ext cx="333195" cy="333195"/>
          </a:xfrm>
          <a:prstGeom prst="rect">
            <a:avLst/>
          </a:prstGeom>
          <a:noFill/>
        </p:spPr>
      </p:pic>
      <p:pic>
        <p:nvPicPr>
          <p:cNvPr id="19" name="Picture 5" descr="Twitter">
            <a:hlinkClick r:id="rId9"/>
          </p:cNvPr>
          <p:cNvPicPr>
            <a:picLocks noChangeAspect="1" noChangeArrowheads="1"/>
          </p:cNvPicPr>
          <p:nvPr/>
        </p:nvPicPr>
        <p:blipFill>
          <a:blip r:embed="rId10" cstate="print"/>
          <a:srcRect/>
          <a:stretch>
            <a:fillRect/>
          </a:stretch>
        </p:blipFill>
        <p:spPr bwMode="auto">
          <a:xfrm>
            <a:off x="1576851" y="4968013"/>
            <a:ext cx="333195" cy="333195"/>
          </a:xfrm>
          <a:prstGeom prst="rect">
            <a:avLst/>
          </a:prstGeom>
          <a:noFill/>
        </p:spPr>
      </p:pic>
      <p:pic>
        <p:nvPicPr>
          <p:cNvPr id="20" name="Picture 6" descr="YouTube">
            <a:hlinkClick r:id="rId11"/>
          </p:cNvPr>
          <p:cNvPicPr>
            <a:picLocks noChangeAspect="1" noChangeArrowheads="1"/>
          </p:cNvPicPr>
          <p:nvPr userDrawn="1"/>
        </p:nvPicPr>
        <p:blipFill>
          <a:blip r:embed="rId12" cstate="print"/>
          <a:srcRect/>
          <a:stretch>
            <a:fillRect/>
          </a:stretch>
        </p:blipFill>
        <p:spPr bwMode="auto">
          <a:xfrm>
            <a:off x="1960227"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Ubuntu" panose="020B0504030602030204" pitchFamily="34" charset="0"/>
                <a:cs typeface="Arial"/>
              </a:rPr>
              <a:t>Copyright © 2023 Capgemini. All rights reserved.</a:t>
            </a:r>
          </a:p>
        </p:txBody>
      </p:sp>
      <p:grpSp>
        <p:nvGrpSpPr>
          <p:cNvPr id="10" name="Group 9">
            <a:extLst>
              <a:ext uri="{FF2B5EF4-FFF2-40B4-BE49-F238E27FC236}">
                <a16:creationId xmlns:a16="http://schemas.microsoft.com/office/drawing/2014/main" id="{D2BF7E9C-FD5C-450A-A1FB-17FC5765ED64}"/>
              </a:ext>
            </a:extLst>
          </p:cNvPr>
          <p:cNvGrpSpPr>
            <a:grpSpLocks noChangeAspect="1"/>
          </p:cNvGrpSpPr>
          <p:nvPr userDrawn="1"/>
        </p:nvGrpSpPr>
        <p:grpSpPr>
          <a:xfrm>
            <a:off x="411020" y="984393"/>
            <a:ext cx="2231297" cy="501650"/>
            <a:chOff x="9550400" y="612775"/>
            <a:chExt cx="2231297" cy="501650"/>
          </a:xfrm>
        </p:grpSpPr>
        <p:sp>
          <p:nvSpPr>
            <p:cNvPr id="11" name="Freeform: Shape 10">
              <a:extLst>
                <a:ext uri="{FF2B5EF4-FFF2-40B4-BE49-F238E27FC236}">
                  <a16:creationId xmlns:a16="http://schemas.microsoft.com/office/drawing/2014/main" id="{DD26A2F9-4026-4DA7-B00A-AE48A8B0CD4D}"/>
                </a:ext>
              </a:extLst>
            </p:cNvPr>
            <p:cNvSpPr/>
            <p:nvPr/>
          </p:nvSpPr>
          <p:spPr>
            <a:xfrm>
              <a:off x="11517270" y="764033"/>
              <a:ext cx="261161" cy="212194"/>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12" name="Freeform: Shape 11">
              <a:extLst>
                <a:ext uri="{FF2B5EF4-FFF2-40B4-BE49-F238E27FC236}">
                  <a16:creationId xmlns:a16="http://schemas.microsoft.com/office/drawing/2014/main" id="{0DCE7524-34A1-429B-91AD-74BE1F944E06}"/>
                </a:ext>
              </a:extLst>
            </p:cNvPr>
            <p:cNvSpPr/>
            <p:nvPr/>
          </p:nvSpPr>
          <p:spPr>
            <a:xfrm>
              <a:off x="9550400" y="619305"/>
              <a:ext cx="1811806" cy="495120"/>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4" name="Freeform: Shape 13">
              <a:extLst>
                <a:ext uri="{FF2B5EF4-FFF2-40B4-BE49-F238E27FC236}">
                  <a16:creationId xmlns:a16="http://schemas.microsoft.com/office/drawing/2014/main" id="{0F68A571-28DB-453F-861D-36D50723ED4D}"/>
                </a:ext>
              </a:extLst>
            </p:cNvPr>
            <p:cNvSpPr/>
            <p:nvPr/>
          </p:nvSpPr>
          <p:spPr>
            <a:xfrm>
              <a:off x="10915493" y="643771"/>
              <a:ext cx="54409" cy="59850"/>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5" name="Freeform: Shape 14">
              <a:extLst>
                <a:ext uri="{FF2B5EF4-FFF2-40B4-BE49-F238E27FC236}">
                  <a16:creationId xmlns:a16="http://schemas.microsoft.com/office/drawing/2014/main" id="{923DB0AA-5015-4FEA-A32D-44257CF2BED3}"/>
                </a:ext>
              </a:extLst>
            </p:cNvPr>
            <p:cNvSpPr/>
            <p:nvPr/>
          </p:nvSpPr>
          <p:spPr>
            <a:xfrm>
              <a:off x="11270254" y="654106"/>
              <a:ext cx="54409" cy="54409"/>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6" name="Freeform: Shape 15">
              <a:extLst>
                <a:ext uri="{FF2B5EF4-FFF2-40B4-BE49-F238E27FC236}">
                  <a16:creationId xmlns:a16="http://schemas.microsoft.com/office/drawing/2014/main" id="{3E8CD59B-E3D8-4E45-86AA-3D0BB06038CE}"/>
                </a:ext>
              </a:extLst>
            </p:cNvPr>
            <p:cNvSpPr/>
            <p:nvPr/>
          </p:nvSpPr>
          <p:spPr>
            <a:xfrm>
              <a:off x="11384515" y="612775"/>
              <a:ext cx="397182" cy="331893"/>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Tree>
    <p:extLst>
      <p:ext uri="{BB962C8B-B14F-4D97-AF65-F5344CB8AC3E}">
        <p14:creationId xmlns:p14="http://schemas.microsoft.com/office/powerpoint/2010/main" val="1140321145"/>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blank" preserve="1">
  <p:cSld name="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32214" y="1295400"/>
            <a:ext cx="9702386" cy="6043284"/>
          </a:xfrm>
          <a:prstGeom prst="rect">
            <a:avLst/>
          </a:prstGeom>
        </p:spPr>
      </p:pic>
      <p:pic>
        <p:nvPicPr>
          <p:cNvPr id="22" name="Picture 7" descr="facebook">
            <a:hlinkClick r:id="rId3"/>
            <a:extLst>
              <a:ext uri="{FF2B5EF4-FFF2-40B4-BE49-F238E27FC236}">
                <a16:creationId xmlns:a16="http://schemas.microsoft.com/office/drawing/2014/main" id="{BCC76D32-C587-45AA-A26C-ED5B038C867B}"/>
              </a:ext>
            </a:extLst>
          </p:cNvPr>
          <p:cNvPicPr>
            <a:picLocks noChangeAspect="1" noChangeArrowheads="1"/>
          </p:cNvPicPr>
          <p:nvPr/>
        </p:nvPicPr>
        <p:blipFill>
          <a:blip r:embed="rId4" cstate="print"/>
          <a:srcRect/>
          <a:stretch>
            <a:fillRect/>
          </a:stretch>
        </p:blipFill>
        <p:spPr bwMode="auto">
          <a:xfrm>
            <a:off x="426720" y="5328053"/>
            <a:ext cx="333195" cy="333195"/>
          </a:xfrm>
          <a:prstGeom prst="rect">
            <a:avLst/>
          </a:prstGeom>
          <a:noFill/>
        </p:spPr>
      </p:pic>
      <p:pic>
        <p:nvPicPr>
          <p:cNvPr id="17" name="Picture 2" descr="LinkedIn">
            <a:hlinkClick r:id="rId5"/>
            <a:extLst>
              <a:ext uri="{FF2B5EF4-FFF2-40B4-BE49-F238E27FC236}">
                <a16:creationId xmlns:a16="http://schemas.microsoft.com/office/drawing/2014/main" id="{F6DF1D6E-8462-43E1-AFC5-8A5C855024F4}"/>
              </a:ext>
            </a:extLst>
          </p:cNvPr>
          <p:cNvPicPr>
            <a:picLocks noChangeAspect="1" noChangeArrowheads="1"/>
          </p:cNvPicPr>
          <p:nvPr/>
        </p:nvPicPr>
        <p:blipFill>
          <a:blip r:embed="rId6" cstate="print"/>
          <a:srcRect/>
          <a:stretch>
            <a:fillRect/>
          </a:stretch>
        </p:blipFill>
        <p:spPr bwMode="auto">
          <a:xfrm>
            <a:off x="810097" y="5328053"/>
            <a:ext cx="333195" cy="333195"/>
          </a:xfrm>
          <a:prstGeom prst="rect">
            <a:avLst/>
          </a:prstGeom>
          <a:noFill/>
        </p:spPr>
      </p:pic>
      <p:pic>
        <p:nvPicPr>
          <p:cNvPr id="19" name="Picture 4" descr="SlideShare">
            <a:hlinkClick r:id="rId7"/>
            <a:extLst>
              <a:ext uri="{FF2B5EF4-FFF2-40B4-BE49-F238E27FC236}">
                <a16:creationId xmlns:a16="http://schemas.microsoft.com/office/drawing/2014/main" id="{DA74C6D2-FFE3-4CE8-B52D-0A33097AEEAF}"/>
              </a:ext>
            </a:extLst>
          </p:cNvPr>
          <p:cNvPicPr>
            <a:picLocks noChangeAspect="1" noChangeArrowheads="1"/>
          </p:cNvPicPr>
          <p:nvPr/>
        </p:nvPicPr>
        <p:blipFill>
          <a:blip r:embed="rId8" cstate="print"/>
          <a:srcRect/>
          <a:stretch>
            <a:fillRect/>
          </a:stretch>
        </p:blipFill>
        <p:spPr bwMode="auto">
          <a:xfrm>
            <a:off x="1193474" y="5328053"/>
            <a:ext cx="333195" cy="333195"/>
          </a:xfrm>
          <a:prstGeom prst="rect">
            <a:avLst/>
          </a:prstGeom>
          <a:noFill/>
        </p:spPr>
      </p:pic>
      <p:pic>
        <p:nvPicPr>
          <p:cNvPr id="20" name="Picture 5" descr="Twitter">
            <a:hlinkClick r:id="rId9"/>
            <a:extLst>
              <a:ext uri="{FF2B5EF4-FFF2-40B4-BE49-F238E27FC236}">
                <a16:creationId xmlns:a16="http://schemas.microsoft.com/office/drawing/2014/main" id="{14E10122-92A2-4535-9737-8C1BE0EE0AEC}"/>
              </a:ext>
            </a:extLst>
          </p:cNvPr>
          <p:cNvPicPr>
            <a:picLocks noChangeAspect="1" noChangeArrowheads="1"/>
          </p:cNvPicPr>
          <p:nvPr/>
        </p:nvPicPr>
        <p:blipFill>
          <a:blip r:embed="rId10" cstate="print"/>
          <a:srcRect/>
          <a:stretch>
            <a:fillRect/>
          </a:stretch>
        </p:blipFill>
        <p:spPr bwMode="auto">
          <a:xfrm>
            <a:off x="1576851" y="5328053"/>
            <a:ext cx="333195" cy="333195"/>
          </a:xfrm>
          <a:prstGeom prst="rect">
            <a:avLst/>
          </a:prstGeom>
          <a:noFill/>
        </p:spPr>
      </p:pic>
      <p:pic>
        <p:nvPicPr>
          <p:cNvPr id="21" name="Picture 6" descr="YouTube">
            <a:hlinkClick r:id="rId11"/>
            <a:extLst>
              <a:ext uri="{FF2B5EF4-FFF2-40B4-BE49-F238E27FC236}">
                <a16:creationId xmlns:a16="http://schemas.microsoft.com/office/drawing/2014/main" id="{BA6EF96A-02CA-41A1-9095-358FE7486671}"/>
              </a:ext>
            </a:extLst>
          </p:cNvPr>
          <p:cNvPicPr>
            <a:picLocks noChangeAspect="1" noChangeArrowheads="1"/>
          </p:cNvPicPr>
          <p:nvPr userDrawn="1"/>
        </p:nvPicPr>
        <p:blipFill>
          <a:blip r:embed="rId12" cstate="print"/>
          <a:srcRect/>
          <a:stretch>
            <a:fillRect/>
          </a:stretch>
        </p:blipFill>
        <p:spPr bwMode="auto">
          <a:xfrm>
            <a:off x="1960227" y="5328053"/>
            <a:ext cx="333195" cy="333195"/>
          </a:xfrm>
          <a:prstGeom prst="rect">
            <a:avLst/>
          </a:prstGeom>
          <a:noFill/>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a:solidFill>
                  <a:schemeClr val="bg1"/>
                </a:solidFill>
                <a:latin typeface="Ubuntu" panose="020B0504030602030204" pitchFamily="34" charset="0"/>
                <a:cs typeface="Arial"/>
              </a:rPr>
              <a:t>Copyright © 2023 Capgemini. All rights reserved.</a:t>
            </a:r>
          </a:p>
        </p:txBody>
      </p:sp>
      <p:grpSp>
        <p:nvGrpSpPr>
          <p:cNvPr id="10" name="Group 9">
            <a:extLst>
              <a:ext uri="{FF2B5EF4-FFF2-40B4-BE49-F238E27FC236}">
                <a16:creationId xmlns:a16="http://schemas.microsoft.com/office/drawing/2014/main" id="{665BE2A4-4ACC-4E54-9A85-77DFC7F65F01}"/>
              </a:ext>
            </a:extLst>
          </p:cNvPr>
          <p:cNvGrpSpPr>
            <a:grpSpLocks noChangeAspect="1"/>
          </p:cNvGrpSpPr>
          <p:nvPr userDrawn="1"/>
        </p:nvGrpSpPr>
        <p:grpSpPr>
          <a:xfrm>
            <a:off x="9161718" y="5747778"/>
            <a:ext cx="2231297" cy="501650"/>
            <a:chOff x="9550400" y="612775"/>
            <a:chExt cx="2231297" cy="501650"/>
          </a:xfrm>
        </p:grpSpPr>
        <p:sp>
          <p:nvSpPr>
            <p:cNvPr id="11" name="Freeform: Shape 10">
              <a:extLst>
                <a:ext uri="{FF2B5EF4-FFF2-40B4-BE49-F238E27FC236}">
                  <a16:creationId xmlns:a16="http://schemas.microsoft.com/office/drawing/2014/main" id="{0CE61B69-C06F-4D0A-9437-BC399186700C}"/>
                </a:ext>
              </a:extLst>
            </p:cNvPr>
            <p:cNvSpPr/>
            <p:nvPr/>
          </p:nvSpPr>
          <p:spPr>
            <a:xfrm>
              <a:off x="11517270" y="764033"/>
              <a:ext cx="261161" cy="212194"/>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12" name="Freeform: Shape 11">
              <a:extLst>
                <a:ext uri="{FF2B5EF4-FFF2-40B4-BE49-F238E27FC236}">
                  <a16:creationId xmlns:a16="http://schemas.microsoft.com/office/drawing/2014/main" id="{96F08509-FA85-4193-A497-0E692E886745}"/>
                </a:ext>
              </a:extLst>
            </p:cNvPr>
            <p:cNvSpPr/>
            <p:nvPr/>
          </p:nvSpPr>
          <p:spPr>
            <a:xfrm>
              <a:off x="9550400" y="619305"/>
              <a:ext cx="1811806" cy="495120"/>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3" name="Freeform: Shape 12">
              <a:extLst>
                <a:ext uri="{FF2B5EF4-FFF2-40B4-BE49-F238E27FC236}">
                  <a16:creationId xmlns:a16="http://schemas.microsoft.com/office/drawing/2014/main" id="{A40793F6-8550-4F9A-98A1-4BD1C63DE3E6}"/>
                </a:ext>
              </a:extLst>
            </p:cNvPr>
            <p:cNvSpPr/>
            <p:nvPr/>
          </p:nvSpPr>
          <p:spPr>
            <a:xfrm>
              <a:off x="10915493" y="643771"/>
              <a:ext cx="54409" cy="59850"/>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4" name="Freeform: Shape 13">
              <a:extLst>
                <a:ext uri="{FF2B5EF4-FFF2-40B4-BE49-F238E27FC236}">
                  <a16:creationId xmlns:a16="http://schemas.microsoft.com/office/drawing/2014/main" id="{AF68DDBF-3EE2-4BFD-9E41-A500A2DB8E18}"/>
                </a:ext>
              </a:extLst>
            </p:cNvPr>
            <p:cNvSpPr/>
            <p:nvPr/>
          </p:nvSpPr>
          <p:spPr>
            <a:xfrm>
              <a:off x="11270254" y="654106"/>
              <a:ext cx="54409" cy="54409"/>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5" name="Freeform: Shape 14">
              <a:extLst>
                <a:ext uri="{FF2B5EF4-FFF2-40B4-BE49-F238E27FC236}">
                  <a16:creationId xmlns:a16="http://schemas.microsoft.com/office/drawing/2014/main" id="{F22E4E1F-DFDD-4EF6-8781-D2EC7D60F89D}"/>
                </a:ext>
              </a:extLst>
            </p:cNvPr>
            <p:cNvSpPr/>
            <p:nvPr/>
          </p:nvSpPr>
          <p:spPr>
            <a:xfrm>
              <a:off x="11384515" y="612775"/>
              <a:ext cx="397182" cy="331893"/>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Tree>
    <p:extLst>
      <p:ext uri="{BB962C8B-B14F-4D97-AF65-F5344CB8AC3E}">
        <p14:creationId xmlns:p14="http://schemas.microsoft.com/office/powerpoint/2010/main" val="308462577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32207426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Title Slide 1">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grpSp>
        <p:nvGrpSpPr>
          <p:cNvPr id="7" name="Group 6">
            <a:extLst>
              <a:ext uri="{FF2B5EF4-FFF2-40B4-BE49-F238E27FC236}">
                <a16:creationId xmlns:a16="http://schemas.microsoft.com/office/drawing/2014/main" id="{8EDD86A9-A101-4431-BC7F-D7A613B745EB}"/>
              </a:ext>
            </a:extLst>
          </p:cNvPr>
          <p:cNvGrpSpPr>
            <a:grpSpLocks noChangeAspect="1"/>
          </p:cNvGrpSpPr>
          <p:nvPr/>
        </p:nvGrpSpPr>
        <p:grpSpPr>
          <a:xfrm>
            <a:off x="9422540" y="611982"/>
            <a:ext cx="2267015" cy="509586"/>
            <a:chOff x="9550400" y="612775"/>
            <a:chExt cx="2231297" cy="501650"/>
          </a:xfrm>
        </p:grpSpPr>
        <p:sp>
          <p:nvSpPr>
            <p:cNvPr id="8" name="Freeform: Shape 7">
              <a:extLst>
                <a:ext uri="{FF2B5EF4-FFF2-40B4-BE49-F238E27FC236}">
                  <a16:creationId xmlns:a16="http://schemas.microsoft.com/office/drawing/2014/main" id="{92E5232F-44F9-4DA7-8CAF-37E7E772B19E}"/>
                </a:ext>
              </a:extLst>
            </p:cNvPr>
            <p:cNvSpPr/>
            <p:nvPr/>
          </p:nvSpPr>
          <p:spPr>
            <a:xfrm>
              <a:off x="11517270" y="764033"/>
              <a:ext cx="261161" cy="212194"/>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9" name="Freeform: Shape 8">
              <a:extLst>
                <a:ext uri="{FF2B5EF4-FFF2-40B4-BE49-F238E27FC236}">
                  <a16:creationId xmlns:a16="http://schemas.microsoft.com/office/drawing/2014/main" id="{ED6443D4-9252-4F48-B3B1-DE1F07A5D421}"/>
                </a:ext>
              </a:extLst>
            </p:cNvPr>
            <p:cNvSpPr/>
            <p:nvPr/>
          </p:nvSpPr>
          <p:spPr>
            <a:xfrm>
              <a:off x="9550400" y="619305"/>
              <a:ext cx="1811806" cy="495120"/>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0" name="Freeform: Shape 9">
              <a:extLst>
                <a:ext uri="{FF2B5EF4-FFF2-40B4-BE49-F238E27FC236}">
                  <a16:creationId xmlns:a16="http://schemas.microsoft.com/office/drawing/2014/main" id="{00D6E549-1EDB-4087-A87E-246AD0B86307}"/>
                </a:ext>
              </a:extLst>
            </p:cNvPr>
            <p:cNvSpPr/>
            <p:nvPr/>
          </p:nvSpPr>
          <p:spPr>
            <a:xfrm>
              <a:off x="10915493" y="643771"/>
              <a:ext cx="54409" cy="59850"/>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1" name="Freeform: Shape 10">
              <a:extLst>
                <a:ext uri="{FF2B5EF4-FFF2-40B4-BE49-F238E27FC236}">
                  <a16:creationId xmlns:a16="http://schemas.microsoft.com/office/drawing/2014/main" id="{9B59D2B6-7CA0-4DD1-ACF9-FE9B371E6A4B}"/>
                </a:ext>
              </a:extLst>
            </p:cNvPr>
            <p:cNvSpPr/>
            <p:nvPr/>
          </p:nvSpPr>
          <p:spPr>
            <a:xfrm>
              <a:off x="11270254" y="654106"/>
              <a:ext cx="54409" cy="54409"/>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2" name="Freeform: Shape 11">
              <a:extLst>
                <a:ext uri="{FF2B5EF4-FFF2-40B4-BE49-F238E27FC236}">
                  <a16:creationId xmlns:a16="http://schemas.microsoft.com/office/drawing/2014/main" id="{D752C13A-0707-4DB7-BEE5-11C70CC4104C}"/>
                </a:ext>
              </a:extLst>
            </p:cNvPr>
            <p:cNvSpPr/>
            <p:nvPr/>
          </p:nvSpPr>
          <p:spPr>
            <a:xfrm>
              <a:off x="11384515" y="612775"/>
              <a:ext cx="397182" cy="331893"/>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Tree>
    <p:extLst>
      <p:ext uri="{BB962C8B-B14F-4D97-AF65-F5344CB8AC3E}">
        <p14:creationId xmlns:p14="http://schemas.microsoft.com/office/powerpoint/2010/main" val="2382007031"/>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 uri="{C183D7F6-B498-43B3-948B-1728B52AA6E4}">
                <adec:decorative xmlns:adec="http://schemas.microsoft.com/office/drawing/2017/decorative" val="1"/>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edit alt text and send </a:t>
            </a:r>
            <a:r>
              <a:rPr lang="de-DE" err="1"/>
              <a:t>to</a:t>
            </a:r>
            <a:r>
              <a:rPr lang="de-DE"/>
              <a:t> back</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grpSp>
        <p:nvGrpSpPr>
          <p:cNvPr id="6" name="Group 5">
            <a:extLst>
              <a:ext uri="{FF2B5EF4-FFF2-40B4-BE49-F238E27FC236}">
                <a16:creationId xmlns:a16="http://schemas.microsoft.com/office/drawing/2014/main" id="{138C36DE-BE7C-4EA8-8C11-63DF35071C75}"/>
              </a:ext>
            </a:extLst>
          </p:cNvPr>
          <p:cNvGrpSpPr>
            <a:grpSpLocks noChangeAspect="1"/>
          </p:cNvGrpSpPr>
          <p:nvPr/>
        </p:nvGrpSpPr>
        <p:grpSpPr>
          <a:xfrm>
            <a:off x="476900" y="611982"/>
            <a:ext cx="2267015" cy="509586"/>
            <a:chOff x="9550400" y="612775"/>
            <a:chExt cx="2231297" cy="501650"/>
          </a:xfrm>
        </p:grpSpPr>
        <p:sp>
          <p:nvSpPr>
            <p:cNvPr id="8" name="Freeform: Shape 7">
              <a:extLst>
                <a:ext uri="{FF2B5EF4-FFF2-40B4-BE49-F238E27FC236}">
                  <a16:creationId xmlns:a16="http://schemas.microsoft.com/office/drawing/2014/main" id="{F832A913-EBD0-4A52-9BC5-C515E20AA2D2}"/>
                </a:ext>
              </a:extLst>
            </p:cNvPr>
            <p:cNvSpPr/>
            <p:nvPr/>
          </p:nvSpPr>
          <p:spPr>
            <a:xfrm>
              <a:off x="11517270" y="764033"/>
              <a:ext cx="261161" cy="212194"/>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9" name="Freeform: Shape 8">
              <a:extLst>
                <a:ext uri="{FF2B5EF4-FFF2-40B4-BE49-F238E27FC236}">
                  <a16:creationId xmlns:a16="http://schemas.microsoft.com/office/drawing/2014/main" id="{6C7C00F4-BABA-40DB-9C59-16A7B33536DE}"/>
                </a:ext>
              </a:extLst>
            </p:cNvPr>
            <p:cNvSpPr/>
            <p:nvPr/>
          </p:nvSpPr>
          <p:spPr>
            <a:xfrm>
              <a:off x="9550400" y="619305"/>
              <a:ext cx="1811806" cy="495120"/>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1" name="Freeform: Shape 10">
              <a:extLst>
                <a:ext uri="{FF2B5EF4-FFF2-40B4-BE49-F238E27FC236}">
                  <a16:creationId xmlns:a16="http://schemas.microsoft.com/office/drawing/2014/main" id="{06629252-ADFC-4FC9-85E5-6800A45F303B}"/>
                </a:ext>
              </a:extLst>
            </p:cNvPr>
            <p:cNvSpPr/>
            <p:nvPr/>
          </p:nvSpPr>
          <p:spPr>
            <a:xfrm>
              <a:off x="10915493" y="643771"/>
              <a:ext cx="54409" cy="59850"/>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2" name="Freeform: Shape 11">
              <a:extLst>
                <a:ext uri="{FF2B5EF4-FFF2-40B4-BE49-F238E27FC236}">
                  <a16:creationId xmlns:a16="http://schemas.microsoft.com/office/drawing/2014/main" id="{9DB5264D-26DE-4A16-881C-0B8EE6975DF9}"/>
                </a:ext>
              </a:extLst>
            </p:cNvPr>
            <p:cNvSpPr/>
            <p:nvPr/>
          </p:nvSpPr>
          <p:spPr>
            <a:xfrm>
              <a:off x="11270254" y="654106"/>
              <a:ext cx="54409" cy="54409"/>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3" name="Freeform: Shape 12">
              <a:extLst>
                <a:ext uri="{FF2B5EF4-FFF2-40B4-BE49-F238E27FC236}">
                  <a16:creationId xmlns:a16="http://schemas.microsoft.com/office/drawing/2014/main" id="{1478FE54-3447-4979-8CE3-A274C8BD5A44}"/>
                </a:ext>
              </a:extLst>
            </p:cNvPr>
            <p:cNvSpPr/>
            <p:nvPr/>
          </p:nvSpPr>
          <p:spPr>
            <a:xfrm>
              <a:off x="11384515" y="612775"/>
              <a:ext cx="397182" cy="331893"/>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Tree>
    <p:extLst>
      <p:ext uri="{BB962C8B-B14F-4D97-AF65-F5344CB8AC3E}">
        <p14:creationId xmlns:p14="http://schemas.microsoft.com/office/powerpoint/2010/main" val="2837517856"/>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92814EB-708F-421C-9F3F-E5C7B767B62F}"/>
              </a:ext>
              <a:ext uri="{C183D7F6-B498-43B3-948B-1728B52AA6E4}">
                <adec:decorative xmlns:adec="http://schemas.microsoft.com/office/drawing/2017/decorative" val="1"/>
              </a:ext>
            </a:extLst>
          </p:cNvPr>
          <p:cNvSpPr>
            <a:spLocks noGrp="1"/>
          </p:cNvSpPr>
          <p:nvPr>
            <p:ph type="pic" sz="quarter" idx="10" hasCustomPrompt="1"/>
          </p:nvPr>
        </p:nvSpPr>
        <p:spPr>
          <a:xfrm>
            <a:off x="0" y="0"/>
            <a:ext cx="12192000" cy="68580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a:t>Insert picture, edit alt text and send </a:t>
            </a:r>
            <a:r>
              <a:rPr lang="de-DE" err="1"/>
              <a:t>to</a:t>
            </a:r>
            <a:r>
              <a:rPr lang="de-DE"/>
              <a:t> back</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3678123"/>
            <a:ext cx="11386134" cy="830997"/>
          </a:xfrm>
        </p:spPr>
        <p:txBody>
          <a:bodyPr wrap="square" lIns="36000" rIns="36000" bIns="0" anchor="b" anchorCtr="0">
            <a:spAutoFit/>
          </a:bodyPr>
          <a:lstStyle>
            <a:lvl1pPr algn="l">
              <a:lnSpc>
                <a:spcPct val="90000"/>
              </a:lnSpc>
              <a:defRPr sz="6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grpSp>
        <p:nvGrpSpPr>
          <p:cNvPr id="7" name="Group 6">
            <a:extLst>
              <a:ext uri="{FF2B5EF4-FFF2-40B4-BE49-F238E27FC236}">
                <a16:creationId xmlns:a16="http://schemas.microsoft.com/office/drawing/2014/main" id="{0240C396-6AE9-4D76-A223-20E91B036600}"/>
              </a:ext>
            </a:extLst>
          </p:cNvPr>
          <p:cNvGrpSpPr>
            <a:grpSpLocks noChangeAspect="1"/>
          </p:cNvGrpSpPr>
          <p:nvPr/>
        </p:nvGrpSpPr>
        <p:grpSpPr>
          <a:xfrm>
            <a:off x="9422540" y="611982"/>
            <a:ext cx="2267015" cy="509586"/>
            <a:chOff x="9550400" y="612775"/>
            <a:chExt cx="2231297" cy="501650"/>
          </a:xfrm>
        </p:grpSpPr>
        <p:sp>
          <p:nvSpPr>
            <p:cNvPr id="8" name="Freeform: Shape 7">
              <a:extLst>
                <a:ext uri="{FF2B5EF4-FFF2-40B4-BE49-F238E27FC236}">
                  <a16:creationId xmlns:a16="http://schemas.microsoft.com/office/drawing/2014/main" id="{FC704551-0A43-448B-9BC4-076647B2D2FA}"/>
                </a:ext>
              </a:extLst>
            </p:cNvPr>
            <p:cNvSpPr/>
            <p:nvPr/>
          </p:nvSpPr>
          <p:spPr>
            <a:xfrm>
              <a:off x="11517270" y="764033"/>
              <a:ext cx="261161" cy="212194"/>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9" name="Freeform: Shape 8">
              <a:extLst>
                <a:ext uri="{FF2B5EF4-FFF2-40B4-BE49-F238E27FC236}">
                  <a16:creationId xmlns:a16="http://schemas.microsoft.com/office/drawing/2014/main" id="{57D7C248-3780-4A7C-95A8-D356BF27AD73}"/>
                </a:ext>
              </a:extLst>
            </p:cNvPr>
            <p:cNvSpPr/>
            <p:nvPr/>
          </p:nvSpPr>
          <p:spPr>
            <a:xfrm>
              <a:off x="9550400" y="619305"/>
              <a:ext cx="1811806" cy="495120"/>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0" name="Freeform: Shape 9">
              <a:extLst>
                <a:ext uri="{FF2B5EF4-FFF2-40B4-BE49-F238E27FC236}">
                  <a16:creationId xmlns:a16="http://schemas.microsoft.com/office/drawing/2014/main" id="{217CBF3A-5C0A-4C4E-9FD3-E028E791FE81}"/>
                </a:ext>
              </a:extLst>
            </p:cNvPr>
            <p:cNvSpPr/>
            <p:nvPr/>
          </p:nvSpPr>
          <p:spPr>
            <a:xfrm>
              <a:off x="10915493" y="643771"/>
              <a:ext cx="54409" cy="59850"/>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1" name="Freeform: Shape 10">
              <a:extLst>
                <a:ext uri="{FF2B5EF4-FFF2-40B4-BE49-F238E27FC236}">
                  <a16:creationId xmlns:a16="http://schemas.microsoft.com/office/drawing/2014/main" id="{0CD80AA6-A949-4FC4-8CD0-6E6D7300DF2C}"/>
                </a:ext>
              </a:extLst>
            </p:cNvPr>
            <p:cNvSpPr/>
            <p:nvPr/>
          </p:nvSpPr>
          <p:spPr>
            <a:xfrm>
              <a:off x="11270254" y="654106"/>
              <a:ext cx="54409" cy="54409"/>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2" name="Freeform: Shape 11">
              <a:extLst>
                <a:ext uri="{FF2B5EF4-FFF2-40B4-BE49-F238E27FC236}">
                  <a16:creationId xmlns:a16="http://schemas.microsoft.com/office/drawing/2014/main" id="{E8743398-464F-49A4-8D54-C73C461670F9}"/>
                </a:ext>
              </a:extLst>
            </p:cNvPr>
            <p:cNvSpPr/>
            <p:nvPr/>
          </p:nvSpPr>
          <p:spPr>
            <a:xfrm>
              <a:off x="11384515" y="612775"/>
              <a:ext cx="397182" cy="331893"/>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Tree>
    <p:extLst>
      <p:ext uri="{BB962C8B-B14F-4D97-AF65-F5344CB8AC3E}">
        <p14:creationId xmlns:p14="http://schemas.microsoft.com/office/powerpoint/2010/main" val="2446592365"/>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Agenda 1">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2EBDB0D-AC97-40F0-9DD9-F997B00816C8}"/>
              </a:ext>
              <a:ext uri="{C183D7F6-B498-43B3-948B-1728B52AA6E4}">
                <adec:decorative xmlns:adec="http://schemas.microsoft.com/office/drawing/2017/decorative" val="1"/>
              </a:ext>
            </a:extLst>
          </p:cNvPr>
          <p:cNvSpPr/>
          <p:nvPr/>
        </p:nvSpPr>
        <p:spPr>
          <a:xfrm>
            <a:off x="-1" y="0"/>
            <a:ext cx="474929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2" name="Title 1">
            <a:extLst>
              <a:ext uri="{FF2B5EF4-FFF2-40B4-BE49-F238E27FC236}">
                <a16:creationId xmlns:a16="http://schemas.microsoft.com/office/drawing/2014/main" id="{4774F36F-3194-40C1-BFCB-D2FC8CB290B2}"/>
              </a:ext>
            </a:extLst>
          </p:cNvPr>
          <p:cNvSpPr>
            <a:spLocks noGrp="1"/>
          </p:cNvSpPr>
          <p:nvPr>
            <p:ph type="title"/>
          </p:nvPr>
        </p:nvSpPr>
        <p:spPr>
          <a:xfrm>
            <a:off x="404813" y="388188"/>
            <a:ext cx="4323035" cy="2392740"/>
          </a:xfrm>
        </p:spPr>
        <p:txBody>
          <a:bodyPr/>
          <a:lstStyle>
            <a:lvl1pPr>
              <a:defRPr sz="4000">
                <a:solidFill>
                  <a:schemeClr val="bg1"/>
                </a:solidFill>
              </a:defRPr>
            </a:lvl1pPr>
          </a:lstStyle>
          <a:p>
            <a:r>
              <a:rPr lang="en-US"/>
              <a:t>Click to edit Master title style</a:t>
            </a:r>
          </a:p>
        </p:txBody>
      </p:sp>
      <p:sp>
        <p:nvSpPr>
          <p:cNvPr id="5" name="Oval 20">
            <a:extLst>
              <a:ext uri="{FF2B5EF4-FFF2-40B4-BE49-F238E27FC236}">
                <a16:creationId xmlns:a16="http://schemas.microsoft.com/office/drawing/2014/main" id="{0B27F5C5-C656-4F2F-9EEE-B93F6E79E727}"/>
              </a:ext>
              <a:ext uri="{C183D7F6-B498-43B3-948B-1728B52AA6E4}">
                <adec:decorative xmlns:adec="http://schemas.microsoft.com/office/drawing/2017/decorative" val="1"/>
              </a:ext>
            </a:extLst>
          </p:cNvPr>
          <p:cNvSpPr/>
          <p:nvPr/>
        </p:nvSpPr>
        <p:spPr>
          <a:xfrm>
            <a:off x="5327637" y="71149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11B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Text Placeholder 4">
            <a:extLst>
              <a:ext uri="{FF2B5EF4-FFF2-40B4-BE49-F238E27FC236}">
                <a16:creationId xmlns:a16="http://schemas.microsoft.com/office/drawing/2014/main" id="{6C41C771-7ED2-45AF-884F-E0E275C6B347}"/>
              </a:ext>
            </a:extLst>
          </p:cNvPr>
          <p:cNvSpPr>
            <a:spLocks noGrp="1"/>
          </p:cNvSpPr>
          <p:nvPr>
            <p:ph type="body" sz="quarter" idx="35" hasCustomPrompt="1"/>
          </p:nvPr>
        </p:nvSpPr>
        <p:spPr>
          <a:xfrm>
            <a:off x="5498013" y="1040484"/>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6" name="Text Placeholder 4">
            <a:extLst>
              <a:ext uri="{FF2B5EF4-FFF2-40B4-BE49-F238E27FC236}">
                <a16:creationId xmlns:a16="http://schemas.microsoft.com/office/drawing/2014/main" id="{6A82ADF8-12C7-4D27-8457-7F3D1C93EB46}"/>
              </a:ext>
            </a:extLst>
          </p:cNvPr>
          <p:cNvSpPr>
            <a:spLocks noGrp="1"/>
          </p:cNvSpPr>
          <p:nvPr>
            <p:ph type="body" sz="quarter" idx="29" hasCustomPrompt="1"/>
          </p:nvPr>
        </p:nvSpPr>
        <p:spPr>
          <a:xfrm>
            <a:off x="6787432" y="518014"/>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7" name="Text Placeholder 7">
            <a:extLst>
              <a:ext uri="{FF2B5EF4-FFF2-40B4-BE49-F238E27FC236}">
                <a16:creationId xmlns:a16="http://schemas.microsoft.com/office/drawing/2014/main" id="{E18CF815-87D3-425A-8169-07DAC5996151}"/>
              </a:ext>
            </a:extLst>
          </p:cNvPr>
          <p:cNvSpPr>
            <a:spLocks noGrp="1"/>
          </p:cNvSpPr>
          <p:nvPr>
            <p:ph type="body" sz="quarter" idx="30" hasCustomPrompt="1"/>
          </p:nvPr>
        </p:nvSpPr>
        <p:spPr>
          <a:xfrm>
            <a:off x="6787433"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1"/>
            <a:r>
              <a:rPr lang="en-US"/>
              <a:t>Second level</a:t>
            </a:r>
          </a:p>
          <a:p>
            <a:pPr lvl="2"/>
            <a:r>
              <a:rPr lang="en-US"/>
              <a:t>Third level</a:t>
            </a:r>
          </a:p>
          <a:p>
            <a:pPr lvl="3"/>
            <a:r>
              <a:rPr lang="en-US"/>
              <a:t>Fourth level</a:t>
            </a:r>
          </a:p>
        </p:txBody>
      </p:sp>
      <p:sp>
        <p:nvSpPr>
          <p:cNvPr id="4" name="Oval 20">
            <a:extLst>
              <a:ext uri="{FF2B5EF4-FFF2-40B4-BE49-F238E27FC236}">
                <a16:creationId xmlns:a16="http://schemas.microsoft.com/office/drawing/2014/main" id="{71209714-A86B-492A-AC18-2DBD1D17EB98}"/>
              </a:ext>
              <a:ext uri="{C183D7F6-B498-43B3-948B-1728B52AA6E4}">
                <adec:decorative xmlns:adec="http://schemas.microsoft.com/office/drawing/2017/decorative" val="1"/>
              </a:ext>
            </a:extLst>
          </p:cNvPr>
          <p:cNvSpPr/>
          <p:nvPr/>
        </p:nvSpPr>
        <p:spPr>
          <a:xfrm>
            <a:off x="5327637" y="2656077"/>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590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Text Placeholder 4">
            <a:extLst>
              <a:ext uri="{FF2B5EF4-FFF2-40B4-BE49-F238E27FC236}">
                <a16:creationId xmlns:a16="http://schemas.microsoft.com/office/drawing/2014/main" id="{1CDF667B-1AA2-4981-B115-B40754E318E4}"/>
              </a:ext>
            </a:extLst>
          </p:cNvPr>
          <p:cNvSpPr>
            <a:spLocks noGrp="1"/>
          </p:cNvSpPr>
          <p:nvPr>
            <p:ph type="body" sz="quarter" idx="36" hasCustomPrompt="1"/>
          </p:nvPr>
        </p:nvSpPr>
        <p:spPr>
          <a:xfrm>
            <a:off x="5498013" y="299622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10" name="Text Placeholder 4">
            <a:extLst>
              <a:ext uri="{FF2B5EF4-FFF2-40B4-BE49-F238E27FC236}">
                <a16:creationId xmlns:a16="http://schemas.microsoft.com/office/drawing/2014/main" id="{949B542E-285C-4837-B671-696E4DC001E9}"/>
              </a:ext>
            </a:extLst>
          </p:cNvPr>
          <p:cNvSpPr>
            <a:spLocks noGrp="1"/>
          </p:cNvSpPr>
          <p:nvPr>
            <p:ph type="body" sz="quarter" idx="33" hasCustomPrompt="1"/>
          </p:nvPr>
        </p:nvSpPr>
        <p:spPr>
          <a:xfrm>
            <a:off x="6787432" y="2563381"/>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1" name="Text Placeholder 7">
            <a:extLst>
              <a:ext uri="{FF2B5EF4-FFF2-40B4-BE49-F238E27FC236}">
                <a16:creationId xmlns:a16="http://schemas.microsoft.com/office/drawing/2014/main" id="{09A45E63-A970-497F-9E53-8D389A8457FB}"/>
              </a:ext>
            </a:extLst>
          </p:cNvPr>
          <p:cNvSpPr>
            <a:spLocks noGrp="1"/>
          </p:cNvSpPr>
          <p:nvPr>
            <p:ph type="body" sz="quarter" idx="34" hasCustomPrompt="1"/>
          </p:nvPr>
        </p:nvSpPr>
        <p:spPr>
          <a:xfrm>
            <a:off x="6787433"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1"/>
            <a:r>
              <a:rPr lang="en-US"/>
              <a:t>Second level</a:t>
            </a:r>
          </a:p>
          <a:p>
            <a:pPr lvl="2"/>
            <a:r>
              <a:rPr lang="en-US"/>
              <a:t>Third level</a:t>
            </a:r>
          </a:p>
          <a:p>
            <a:pPr lvl="3"/>
            <a:r>
              <a:rPr lang="en-US"/>
              <a:t>Fourth level</a:t>
            </a:r>
          </a:p>
        </p:txBody>
      </p:sp>
      <p:sp>
        <p:nvSpPr>
          <p:cNvPr id="3" name="Oval 20">
            <a:extLst>
              <a:ext uri="{FF2B5EF4-FFF2-40B4-BE49-F238E27FC236}">
                <a16:creationId xmlns:a16="http://schemas.microsoft.com/office/drawing/2014/main" id="{F88C0E2C-E612-44EC-9013-AD68C65B671C}"/>
              </a:ext>
              <a:ext uri="{C183D7F6-B498-43B3-948B-1728B52AA6E4}">
                <adec:decorative xmlns:adec="http://schemas.microsoft.com/office/drawing/2017/decorative" val="1"/>
              </a:ext>
            </a:extLst>
          </p:cNvPr>
          <p:cNvSpPr/>
          <p:nvPr/>
        </p:nvSpPr>
        <p:spPr>
          <a:xfrm>
            <a:off x="5327637" y="478039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A60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Text Placeholder 4">
            <a:extLst>
              <a:ext uri="{FF2B5EF4-FFF2-40B4-BE49-F238E27FC236}">
                <a16:creationId xmlns:a16="http://schemas.microsoft.com/office/drawing/2014/main" id="{A411BF5D-81E9-4AC1-AE6D-53DC26B2ECA6}"/>
              </a:ext>
            </a:extLst>
          </p:cNvPr>
          <p:cNvSpPr>
            <a:spLocks noGrp="1"/>
          </p:cNvSpPr>
          <p:nvPr>
            <p:ph type="body" sz="quarter" idx="37" hasCustomPrompt="1"/>
          </p:nvPr>
        </p:nvSpPr>
        <p:spPr>
          <a:xfrm>
            <a:off x="5498013" y="510784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8" name="Text Placeholder 4">
            <a:extLst>
              <a:ext uri="{FF2B5EF4-FFF2-40B4-BE49-F238E27FC236}">
                <a16:creationId xmlns:a16="http://schemas.microsoft.com/office/drawing/2014/main" id="{42676D57-7318-4038-8625-151D4DD857E7}"/>
              </a:ext>
            </a:extLst>
          </p:cNvPr>
          <p:cNvSpPr>
            <a:spLocks noGrp="1"/>
          </p:cNvSpPr>
          <p:nvPr>
            <p:ph type="body" sz="quarter" idx="31" hasCustomPrompt="1"/>
          </p:nvPr>
        </p:nvSpPr>
        <p:spPr>
          <a:xfrm>
            <a:off x="6787432" y="4647262"/>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9" name="Text Placeholder 7">
            <a:extLst>
              <a:ext uri="{FF2B5EF4-FFF2-40B4-BE49-F238E27FC236}">
                <a16:creationId xmlns:a16="http://schemas.microsoft.com/office/drawing/2014/main" id="{9AB98D4C-7485-4468-A517-B5B92B48F38A}"/>
              </a:ext>
            </a:extLst>
          </p:cNvPr>
          <p:cNvSpPr>
            <a:spLocks noGrp="1"/>
          </p:cNvSpPr>
          <p:nvPr>
            <p:ph type="body" sz="quarter" idx="32" hasCustomPrompt="1"/>
          </p:nvPr>
        </p:nvSpPr>
        <p:spPr>
          <a:xfrm>
            <a:off x="6787433"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24774028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sp>
        <p:nvSpPr>
          <p:cNvPr id="11" name="Title 1"/>
          <p:cNvSpPr>
            <a:spLocks noGrp="1"/>
          </p:cNvSpPr>
          <p:nvPr>
            <p:ph type="title"/>
          </p:nvPr>
        </p:nvSpPr>
        <p:spPr>
          <a:xfrm>
            <a:off x="227349" y="0"/>
            <a:ext cx="11125236" cy="1104900"/>
          </a:xfrm>
          <a:prstGeom prst="rect">
            <a:avLst/>
          </a:prstGeom>
        </p:spPr>
        <p:txBody>
          <a:bodyPr/>
          <a:lstStyle/>
          <a:p>
            <a:r>
              <a:rPr lang="en-US"/>
              <a:t>Click to edit Master title style</a:t>
            </a:r>
            <a:endParaRPr lang="en-GB"/>
          </a:p>
        </p:txBody>
      </p:sp>
      <p:sp>
        <p:nvSpPr>
          <p:cNvPr id="20" name="Picture Placeholder 47">
            <a:extLst>
              <a:ext uri="{FF2B5EF4-FFF2-40B4-BE49-F238E27FC236}">
                <a16:creationId xmlns:a16="http://schemas.microsoft.com/office/drawing/2014/main" id="{51CA337D-4B25-44C1-847A-AC0D74277B60}"/>
              </a:ext>
              <a:ext uri="{C183D7F6-B498-43B3-948B-1728B52AA6E4}">
                <adec:decorative xmlns:adec="http://schemas.microsoft.com/office/drawing/2017/decorative" val="1"/>
              </a:ext>
            </a:extLst>
          </p:cNvPr>
          <p:cNvSpPr>
            <a:spLocks noGrp="1"/>
          </p:cNvSpPr>
          <p:nvPr>
            <p:ph type="pic" sz="quarter" idx="19"/>
          </p:nvPr>
        </p:nvSpPr>
        <p:spPr>
          <a:xfrm>
            <a:off x="0" y="1192909"/>
            <a:ext cx="5591944" cy="5260428"/>
          </a:xfrm>
          <a:prstGeom prst="rect">
            <a:avLst/>
          </a:prstGeom>
        </p:spPr>
        <p:txBody>
          <a:bodyPr anchor="ctr"/>
          <a:lstStyle>
            <a:lvl1pPr algn="ctr">
              <a:defRPr/>
            </a:lvl1pPr>
          </a:lstStyle>
          <a:p>
            <a:r>
              <a:rPr lang="en-US"/>
              <a:t>Click icon to add picture</a:t>
            </a:r>
            <a:endParaRPr lang="pt-PT"/>
          </a:p>
        </p:txBody>
      </p:sp>
      <p:sp>
        <p:nvSpPr>
          <p:cNvPr id="12"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6600059" y="11929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3"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6600059" y="1865049"/>
            <a:ext cx="5007742"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4"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6600059" y="25371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5"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6600059" y="320932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6"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6600059" y="388146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7"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6600059" y="45536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8"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6600059" y="522574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9"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6600059" y="58978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Tree>
    <p:extLst>
      <p:ext uri="{BB962C8B-B14F-4D97-AF65-F5344CB8AC3E}">
        <p14:creationId xmlns:p14="http://schemas.microsoft.com/office/powerpoint/2010/main" val="299634618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8872802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subtitle and content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8186922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9189194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Tree>
    <p:extLst>
      <p:ext uri="{BB962C8B-B14F-4D97-AF65-F5344CB8AC3E}">
        <p14:creationId xmlns:p14="http://schemas.microsoft.com/office/powerpoint/2010/main" val="291535080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918381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ontent 3 columns 1">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6011395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ontent 3 columns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a:p>
        </p:txBody>
      </p:sp>
      <p:sp>
        <p:nvSpPr>
          <p:cNvPr id="13" name="Rectangle 12">
            <a:extLst>
              <a:ext uri="{FF2B5EF4-FFF2-40B4-BE49-F238E27FC236}">
                <a16:creationId xmlns:a16="http://schemas.microsoft.com/office/drawing/2014/main" id="{7B9A63D1-B6C5-4F10-ABD1-7445EB2D8ADC}"/>
              </a:ext>
            </a:extLst>
          </p:cNvPr>
          <p:cNvSpPr/>
          <p:nvPr/>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A69DEBB0-4052-42E9-B8A1-20FEA957F747}"/>
              </a:ext>
            </a:extLst>
          </p:cNvPr>
          <p:cNvSpPr/>
          <p:nvPr/>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336B7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336B7D"/>
              </a:buClr>
              <a:defRPr sz="1400"/>
            </a:lvl2pPr>
            <a:lvl3pPr>
              <a:lnSpc>
                <a:spcPct val="100000"/>
              </a:lnSpc>
              <a:spcBef>
                <a:spcPts val="0"/>
              </a:spcBef>
              <a:buClr>
                <a:srgbClr val="336B7D"/>
              </a:buClr>
              <a:defRPr sz="1400"/>
            </a:lvl3pPr>
            <a:lvl4pPr>
              <a:lnSpc>
                <a:spcPct val="100000"/>
              </a:lnSpc>
              <a:spcBef>
                <a:spcPts val="0"/>
              </a:spcBef>
              <a:buClr>
                <a:srgbClr val="336B7D"/>
              </a:buClr>
              <a:defRPr sz="1400"/>
            </a:lvl4pPr>
            <a:lvl5pPr>
              <a:lnSpc>
                <a:spcPct val="100000"/>
              </a:lnSpc>
              <a:spcBef>
                <a:spcPts val="0"/>
              </a:spcBef>
              <a:buClr>
                <a:srgbClr val="336B7D"/>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id="{270917E2-630D-4941-BA4B-7EB65D4A7850}"/>
              </a:ext>
            </a:extLst>
          </p:cNvPr>
          <p:cNvSpPr/>
          <p:nvPr/>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1649132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Onl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62965492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itle and Content dark grey">
    <p:bg>
      <p:bgPr>
        <a:solidFill>
          <a:schemeClr val="accent4"/>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a:p>
        </p:txBody>
      </p:sp>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992240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and content light Grey">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a:p>
        </p:txBody>
      </p:sp>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3267812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Section Break dark">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4040377252"/>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cSld name="Large title &amp; large RH image 1">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3" y="692696"/>
            <a:ext cx="4562476" cy="2421466"/>
          </a:xfrm>
        </p:spPr>
        <p:txBody>
          <a:bodyPr vert="horz" lIns="72000" tIns="0" rIns="0" bIns="0" rtlCol="0" anchor="b">
            <a:noAutofit/>
          </a:bodyPr>
          <a:lstStyle>
            <a:lvl1pPr>
              <a:lnSpc>
                <a:spcPct val="80000"/>
              </a:lnSpc>
              <a:defRPr lang="en-GB" sz="5400">
                <a:solidFill>
                  <a:schemeClr val="bg1"/>
                </a:solidFill>
              </a:defRPr>
            </a:lvl1pPr>
          </a:lstStyle>
          <a:p>
            <a:pPr lvl="0"/>
            <a:r>
              <a:rPr lang="en-US"/>
              <a:t>Click to edit Master title style</a:t>
            </a:r>
            <a:endParaRPr lang="en-GB"/>
          </a:p>
        </p:txBody>
      </p:sp>
      <p:sp>
        <p:nvSpPr>
          <p:cNvPr id="10" name="Espace réservé du texte 9">
            <a:extLst>
              <a:ext uri="{FF2B5EF4-FFF2-40B4-BE49-F238E27FC236}">
                <a16:creationId xmlns:a16="http://schemas.microsoft.com/office/drawing/2014/main" id="{FC6DF15B-7249-491B-BFB7-9A33784178CD}"/>
              </a:ext>
            </a:extLst>
          </p:cNvPr>
          <p:cNvSpPr>
            <a:spLocks noGrp="1"/>
          </p:cNvSpPr>
          <p:nvPr>
            <p:ph type="body" sz="quarter" idx="12"/>
          </p:nvPr>
        </p:nvSpPr>
        <p:spPr>
          <a:xfrm>
            <a:off x="404813" y="3573040"/>
            <a:ext cx="4395787" cy="2808288"/>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Picture Placeholder 12">
            <a:extLst>
              <a:ext uri="{FF2B5EF4-FFF2-40B4-BE49-F238E27FC236}">
                <a16:creationId xmlns:a16="http://schemas.microsoft.com/office/drawing/2014/main" id="{5586E72C-F96D-4BE1-996B-39A71EA977D3}"/>
              </a:ext>
              <a:ext uri="{C183D7F6-B498-43B3-948B-1728B52AA6E4}">
                <adec:decorative xmlns:adec="http://schemas.microsoft.com/office/drawing/2017/decorative" val="1"/>
              </a:ext>
            </a:extLst>
          </p:cNvPr>
          <p:cNvSpPr>
            <a:spLocks noGrp="1"/>
          </p:cNvSpPr>
          <p:nvPr>
            <p:ph type="pic" sz="quarter" idx="10" hasCustomPrompt="1"/>
          </p:nvPr>
        </p:nvSpPr>
        <p:spPr>
          <a:xfrm>
            <a:off x="5128004" y="0"/>
            <a:ext cx="7063996" cy="6858000"/>
          </a:xfrm>
          <a:custGeom>
            <a:avLst/>
            <a:gdLst>
              <a:gd name="connsiteX0" fmla="*/ 6658543 w 7063996"/>
              <a:gd name="connsiteY0" fmla="*/ 205058 h 6858000"/>
              <a:gd name="connsiteX1" fmla="*/ 6434159 w 7063996"/>
              <a:gd name="connsiteY1" fmla="*/ 436971 h 6858000"/>
              <a:gd name="connsiteX2" fmla="*/ 6511887 w 7063996"/>
              <a:gd name="connsiteY2" fmla="*/ 551459 h 6858000"/>
              <a:gd name="connsiteX3" fmla="*/ 6591081 w 7063996"/>
              <a:gd name="connsiteY3" fmla="*/ 552927 h 6858000"/>
              <a:gd name="connsiteX4" fmla="*/ 6623162 w 7063996"/>
              <a:gd name="connsiteY4" fmla="*/ 536965 h 6858000"/>
              <a:gd name="connsiteX5" fmla="*/ 6649544 w 7063996"/>
              <a:gd name="connsiteY5" fmla="*/ 513474 h 6858000"/>
              <a:gd name="connsiteX6" fmla="*/ 6642500 w 7063996"/>
              <a:gd name="connsiteY6" fmla="*/ 536398 h 6858000"/>
              <a:gd name="connsiteX7" fmla="*/ 6577699 w 7063996"/>
              <a:gd name="connsiteY7" fmla="*/ 579359 h 6858000"/>
              <a:gd name="connsiteX8" fmla="*/ 6631998 w 7063996"/>
              <a:gd name="connsiteY8" fmla="*/ 594046 h 6858000"/>
              <a:gd name="connsiteX9" fmla="*/ 6761140 w 7063996"/>
              <a:gd name="connsiteY9" fmla="*/ 551453 h 6858000"/>
              <a:gd name="connsiteX10" fmla="*/ 6696569 w 7063996"/>
              <a:gd name="connsiteY10" fmla="*/ 494172 h 6858000"/>
              <a:gd name="connsiteX11" fmla="*/ 6761140 w 7063996"/>
              <a:gd name="connsiteY11" fmla="*/ 525016 h 6858000"/>
              <a:gd name="connsiteX12" fmla="*/ 6846372 w 7063996"/>
              <a:gd name="connsiteY12" fmla="*/ 467391 h 6858000"/>
              <a:gd name="connsiteX13" fmla="*/ 6853587 w 7063996"/>
              <a:gd name="connsiteY13" fmla="*/ 431058 h 6858000"/>
              <a:gd name="connsiteX14" fmla="*/ 6853595 w 7063996"/>
              <a:gd name="connsiteY14" fmla="*/ 431100 h 6858000"/>
              <a:gd name="connsiteX15" fmla="*/ 6853595 w 7063996"/>
              <a:gd name="connsiteY15" fmla="*/ 431017 h 6858000"/>
              <a:gd name="connsiteX16" fmla="*/ 6853595 w 7063996"/>
              <a:gd name="connsiteY16" fmla="*/ 428164 h 6858000"/>
              <a:gd name="connsiteX17" fmla="*/ 6781734 w 7063996"/>
              <a:gd name="connsiteY17" fmla="*/ 279916 h 6858000"/>
              <a:gd name="connsiteX18" fmla="*/ 6668809 w 7063996"/>
              <a:gd name="connsiteY18" fmla="*/ 209461 h 6858000"/>
              <a:gd name="connsiteX19" fmla="*/ 6658543 w 7063996"/>
              <a:gd name="connsiteY19" fmla="*/ 205058 h 6858000"/>
              <a:gd name="connsiteX20" fmla="*/ 0 w 7063996"/>
              <a:gd name="connsiteY20" fmla="*/ 0 h 6858000"/>
              <a:gd name="connsiteX21" fmla="*/ 7063996 w 7063996"/>
              <a:gd name="connsiteY21" fmla="*/ 0 h 6858000"/>
              <a:gd name="connsiteX22" fmla="*/ 7063996 w 7063996"/>
              <a:gd name="connsiteY22" fmla="*/ 6858000 h 6858000"/>
              <a:gd name="connsiteX23" fmla="*/ 0 w 706399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063996" h="6858000">
                <a:moveTo>
                  <a:pt x="6658543" y="205058"/>
                </a:moveTo>
                <a:cubicBezTo>
                  <a:pt x="6608680" y="265238"/>
                  <a:pt x="6434159" y="310740"/>
                  <a:pt x="6434159" y="436971"/>
                </a:cubicBezTo>
                <a:cubicBezTo>
                  <a:pt x="6434159" y="486876"/>
                  <a:pt x="6464957" y="533846"/>
                  <a:pt x="6511887" y="551459"/>
                </a:cubicBezTo>
                <a:cubicBezTo>
                  <a:pt x="6538285" y="561734"/>
                  <a:pt x="6564683" y="561734"/>
                  <a:pt x="6591081" y="552927"/>
                </a:cubicBezTo>
                <a:cubicBezTo>
                  <a:pt x="6602814" y="549258"/>
                  <a:pt x="6613446" y="543753"/>
                  <a:pt x="6623162" y="536965"/>
                </a:cubicBezTo>
                <a:lnTo>
                  <a:pt x="6649544" y="513474"/>
                </a:lnTo>
                <a:lnTo>
                  <a:pt x="6642500" y="536398"/>
                </a:lnTo>
                <a:cubicBezTo>
                  <a:pt x="6630805" y="558154"/>
                  <a:pt x="6606316" y="574953"/>
                  <a:pt x="6577699" y="579359"/>
                </a:cubicBezTo>
                <a:cubicBezTo>
                  <a:pt x="6586504" y="588171"/>
                  <a:pt x="6607050" y="594046"/>
                  <a:pt x="6631998" y="594046"/>
                </a:cubicBezTo>
                <a:cubicBezTo>
                  <a:pt x="6677491" y="594046"/>
                  <a:pt x="6733257" y="580827"/>
                  <a:pt x="6761140" y="551453"/>
                </a:cubicBezTo>
                <a:cubicBezTo>
                  <a:pt x="6722985" y="552921"/>
                  <a:pt x="6698037" y="527953"/>
                  <a:pt x="6696569" y="494172"/>
                </a:cubicBezTo>
                <a:cubicBezTo>
                  <a:pt x="6714179" y="516203"/>
                  <a:pt x="6736192" y="525016"/>
                  <a:pt x="6761140" y="525016"/>
                </a:cubicBezTo>
                <a:cubicBezTo>
                  <a:pt x="6799663" y="525016"/>
                  <a:pt x="6832407" y="501057"/>
                  <a:pt x="6846372" y="467391"/>
                </a:cubicBezTo>
                <a:lnTo>
                  <a:pt x="6853587" y="431058"/>
                </a:lnTo>
                <a:lnTo>
                  <a:pt x="6853595" y="431100"/>
                </a:lnTo>
                <a:lnTo>
                  <a:pt x="6853595" y="431017"/>
                </a:lnTo>
                <a:lnTo>
                  <a:pt x="6853595" y="428164"/>
                </a:lnTo>
                <a:cubicBezTo>
                  <a:pt x="6853595" y="369452"/>
                  <a:pt x="6824264" y="319547"/>
                  <a:pt x="6781734" y="279916"/>
                </a:cubicBezTo>
                <a:cubicBezTo>
                  <a:pt x="6749469" y="249092"/>
                  <a:pt x="6709872" y="227075"/>
                  <a:pt x="6668809" y="209461"/>
                </a:cubicBezTo>
                <a:cubicBezTo>
                  <a:pt x="6665875" y="207994"/>
                  <a:pt x="6662942" y="206526"/>
                  <a:pt x="6658543" y="205058"/>
                </a:cubicBezTo>
                <a:close/>
                <a:moveTo>
                  <a:pt x="0" y="0"/>
                </a:moveTo>
                <a:lnTo>
                  <a:pt x="7063996" y="0"/>
                </a:lnTo>
                <a:lnTo>
                  <a:pt x="706399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 with alt text</a:t>
            </a:r>
            <a:endParaRPr lang="en-GB"/>
          </a:p>
        </p:txBody>
      </p:sp>
    </p:spTree>
    <p:extLst>
      <p:ext uri="{BB962C8B-B14F-4D97-AF65-F5344CB8AC3E}">
        <p14:creationId xmlns:p14="http://schemas.microsoft.com/office/powerpoint/2010/main" val="227275052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166602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 uri="{C183D7F6-B498-43B3-948B-1728B52AA6E4}">
                <adec:decorative xmlns:adec="http://schemas.microsoft.com/office/drawing/2017/decorative" val="1"/>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a:t>Insert picture, add alt text and send </a:t>
            </a:r>
            <a:r>
              <a:rPr lang="de-DE" err="1"/>
              <a:t>to</a:t>
            </a:r>
            <a:r>
              <a:rPr lang="de-DE"/>
              <a:t> back</a:t>
            </a:r>
          </a:p>
        </p:txBody>
      </p:sp>
    </p:spTree>
    <p:extLst>
      <p:ext uri="{BB962C8B-B14F-4D97-AF65-F5344CB8AC3E}">
        <p14:creationId xmlns:p14="http://schemas.microsoft.com/office/powerpoint/2010/main" val="423817379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 uri="{C183D7F6-B498-43B3-948B-1728B52AA6E4}">
                <adec:decorative xmlns:adec="http://schemas.microsoft.com/office/drawing/2017/decorative" val="1"/>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1"/>
                </a:solidFill>
              </a:defRPr>
            </a:lvl1pPr>
          </a:lstStyle>
          <a:p>
            <a:r>
              <a:rPr lang="de-DE"/>
              <a:t>Insert picture, edit alt text and send </a:t>
            </a:r>
            <a:r>
              <a:rPr lang="de-DE" err="1"/>
              <a:t>to</a:t>
            </a:r>
            <a:r>
              <a:rPr lang="de-DE"/>
              <a:t> back</a:t>
            </a:r>
          </a:p>
        </p:txBody>
      </p:sp>
    </p:spTree>
    <p:extLst>
      <p:ext uri="{BB962C8B-B14F-4D97-AF65-F5344CB8AC3E}">
        <p14:creationId xmlns:p14="http://schemas.microsoft.com/office/powerpoint/2010/main" val="375428859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 uri="{C183D7F6-B498-43B3-948B-1728B52AA6E4}">
                <adec:decorative xmlns:adec="http://schemas.microsoft.com/office/drawing/2017/decorative" val="1"/>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a:t>Insert picture, add alt text and send </a:t>
            </a:r>
            <a:r>
              <a:rPr lang="de-DE" err="1"/>
              <a:t>to</a:t>
            </a:r>
            <a:r>
              <a:rPr lang="de-DE"/>
              <a:t> back</a:t>
            </a:r>
          </a:p>
        </p:txBody>
      </p:sp>
    </p:spTree>
    <p:extLst>
      <p:ext uri="{BB962C8B-B14F-4D97-AF65-F5344CB8AC3E}">
        <p14:creationId xmlns:p14="http://schemas.microsoft.com/office/powerpoint/2010/main" val="191630944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cSld name="Large titl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57200" y="4958425"/>
            <a:ext cx="11277600" cy="822325"/>
          </a:xfrm>
        </p:spPr>
        <p:txBody>
          <a:bodyPr lIns="36000" tIns="144000">
            <a:normAutofit/>
          </a:bodyPr>
          <a:lstStyle>
            <a:lvl1pPr marL="0" indent="0" algn="l">
              <a:buNone/>
              <a:defRPr sz="20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7" name="Text Placeholder 6">
            <a:extLst>
              <a:ext uri="{FF2B5EF4-FFF2-40B4-BE49-F238E27FC236}">
                <a16:creationId xmlns:a16="http://schemas.microsoft.com/office/drawing/2014/main" id="{79EA84EC-0E0C-41F6-8286-BC5A87DC6C7B}"/>
              </a:ext>
            </a:extLst>
          </p:cNvPr>
          <p:cNvSpPr>
            <a:spLocks noGrp="1"/>
          </p:cNvSpPr>
          <p:nvPr>
            <p:ph type="body" sz="quarter" idx="10" hasCustomPrompt="1"/>
          </p:nvPr>
        </p:nvSpPr>
        <p:spPr>
          <a:xfrm>
            <a:off x="457200" y="2135545"/>
            <a:ext cx="11277600" cy="2585323"/>
          </a:xfrm>
        </p:spPr>
        <p:txBody>
          <a:bodyPr anchor="ctr" anchorCtr="0">
            <a:spAutoFit/>
          </a:bodyPr>
          <a:lstStyle>
            <a:lvl1pPr marL="0" indent="0" algn="l">
              <a:lnSpc>
                <a:spcPct val="70000"/>
              </a:lnSpc>
              <a:spcAft>
                <a:spcPts val="0"/>
              </a:spcAft>
              <a:buFontTx/>
              <a:buNone/>
              <a:defRPr sz="8000" b="1" cap="all"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liquez pour modifier les styles du texte du masque</a:t>
            </a:r>
          </a:p>
        </p:txBody>
      </p:sp>
      <p:grpSp>
        <p:nvGrpSpPr>
          <p:cNvPr id="6" name="Group 5">
            <a:extLst>
              <a:ext uri="{FF2B5EF4-FFF2-40B4-BE49-F238E27FC236}">
                <a16:creationId xmlns:a16="http://schemas.microsoft.com/office/drawing/2014/main" id="{53E1ECB5-DB51-4283-B8B9-FBB99B30DDDA}"/>
              </a:ext>
            </a:extLst>
          </p:cNvPr>
          <p:cNvGrpSpPr>
            <a:grpSpLocks noChangeAspect="1"/>
          </p:cNvGrpSpPr>
          <p:nvPr/>
        </p:nvGrpSpPr>
        <p:grpSpPr>
          <a:xfrm>
            <a:off x="516023" y="622911"/>
            <a:ext cx="2231297" cy="501650"/>
            <a:chOff x="9550400" y="612775"/>
            <a:chExt cx="2231297" cy="501650"/>
          </a:xfrm>
        </p:grpSpPr>
        <p:sp>
          <p:nvSpPr>
            <p:cNvPr id="8" name="Freeform: Shape 7">
              <a:extLst>
                <a:ext uri="{FF2B5EF4-FFF2-40B4-BE49-F238E27FC236}">
                  <a16:creationId xmlns:a16="http://schemas.microsoft.com/office/drawing/2014/main" id="{648307B4-0823-4CCD-9A0B-FC8313B6A1CE}"/>
                </a:ext>
              </a:extLst>
            </p:cNvPr>
            <p:cNvSpPr/>
            <p:nvPr/>
          </p:nvSpPr>
          <p:spPr>
            <a:xfrm>
              <a:off x="11517270" y="764033"/>
              <a:ext cx="261161" cy="212194"/>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9" name="Freeform: Shape 8">
              <a:extLst>
                <a:ext uri="{FF2B5EF4-FFF2-40B4-BE49-F238E27FC236}">
                  <a16:creationId xmlns:a16="http://schemas.microsoft.com/office/drawing/2014/main" id="{0EF37526-68C2-4CC7-BFA8-D9A1ECDD5F86}"/>
                </a:ext>
              </a:extLst>
            </p:cNvPr>
            <p:cNvSpPr/>
            <p:nvPr/>
          </p:nvSpPr>
          <p:spPr>
            <a:xfrm>
              <a:off x="9550400" y="619305"/>
              <a:ext cx="1811806" cy="495120"/>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0" name="Freeform: Shape 9">
              <a:extLst>
                <a:ext uri="{FF2B5EF4-FFF2-40B4-BE49-F238E27FC236}">
                  <a16:creationId xmlns:a16="http://schemas.microsoft.com/office/drawing/2014/main" id="{031D688A-C2B9-40DF-8BDB-7397CB9DF4C1}"/>
                </a:ext>
              </a:extLst>
            </p:cNvPr>
            <p:cNvSpPr/>
            <p:nvPr/>
          </p:nvSpPr>
          <p:spPr>
            <a:xfrm>
              <a:off x="10915493" y="643771"/>
              <a:ext cx="54409" cy="59850"/>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1" name="Freeform: Shape 10">
              <a:extLst>
                <a:ext uri="{FF2B5EF4-FFF2-40B4-BE49-F238E27FC236}">
                  <a16:creationId xmlns:a16="http://schemas.microsoft.com/office/drawing/2014/main" id="{808CDC8B-4E52-45D7-922E-07333CE529A6}"/>
                </a:ext>
              </a:extLst>
            </p:cNvPr>
            <p:cNvSpPr/>
            <p:nvPr/>
          </p:nvSpPr>
          <p:spPr>
            <a:xfrm>
              <a:off x="11270254" y="654106"/>
              <a:ext cx="54409" cy="54409"/>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2" name="Freeform: Shape 11">
              <a:extLst>
                <a:ext uri="{FF2B5EF4-FFF2-40B4-BE49-F238E27FC236}">
                  <a16:creationId xmlns:a16="http://schemas.microsoft.com/office/drawing/2014/main" id="{8515A298-0196-4231-B123-8DDB35B79DA6}"/>
                </a:ext>
              </a:extLst>
            </p:cNvPr>
            <p:cNvSpPr/>
            <p:nvPr/>
          </p:nvSpPr>
          <p:spPr>
            <a:xfrm>
              <a:off x="11384515" y="612775"/>
              <a:ext cx="397182" cy="331893"/>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Tree>
    <p:extLst>
      <p:ext uri="{BB962C8B-B14F-4D97-AF65-F5344CB8AC3E}">
        <p14:creationId xmlns:p14="http://schemas.microsoft.com/office/powerpoint/2010/main" val="3631477339"/>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28" name="Image 27">
            <a:extLst>
              <a:ext uri="{FF2B5EF4-FFF2-40B4-BE49-F238E27FC236}">
                <a16:creationId xmlns:a16="http://schemas.microsoft.com/office/drawing/2014/main" id="{CFD4BD67-7A96-4F02-AD8B-7157189FD651}"/>
              </a:ex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l="6350" t="23693" r="10370" b="21576"/>
          <a:stretch/>
        </p:blipFill>
        <p:spPr>
          <a:xfrm rot="1808368" flipV="1">
            <a:off x="4403152" y="337083"/>
            <a:ext cx="8831279" cy="4103533"/>
          </a:xfrm>
          <a:prstGeom prst="rect">
            <a:avLst/>
          </a:prstGeom>
        </p:spPr>
      </p:pic>
      <p:pic>
        <p:nvPicPr>
          <p:cNvPr id="21" name="Picture 7" descr="facebook">
            <a:hlinkClick r:id="rId3"/>
          </p:cNvPr>
          <p:cNvPicPr>
            <a:picLocks noChangeAspect="1" noChangeArrowheads="1"/>
          </p:cNvPicPr>
          <p:nvPr/>
        </p:nvPicPr>
        <p:blipFill>
          <a:blip r:embed="rId4" cstate="print"/>
          <a:srcRect/>
          <a:stretch>
            <a:fillRect/>
          </a:stretch>
        </p:blipFill>
        <p:spPr bwMode="auto">
          <a:xfrm>
            <a:off x="426720" y="4968013"/>
            <a:ext cx="333195" cy="333195"/>
          </a:xfrm>
          <a:prstGeom prst="rect">
            <a:avLst/>
          </a:prstGeom>
          <a:noFill/>
        </p:spPr>
      </p:pic>
      <p:pic>
        <p:nvPicPr>
          <p:cNvPr id="17" name="Picture 2" descr="LinkedIn">
            <a:hlinkClick r:id="rId5"/>
          </p:cNvPr>
          <p:cNvPicPr>
            <a:picLocks noChangeAspect="1" noChangeArrowheads="1"/>
          </p:cNvPicPr>
          <p:nvPr/>
        </p:nvPicPr>
        <p:blipFill>
          <a:blip r:embed="rId6" cstate="print"/>
          <a:srcRect/>
          <a:stretch>
            <a:fillRect/>
          </a:stretch>
        </p:blipFill>
        <p:spPr bwMode="auto">
          <a:xfrm>
            <a:off x="810097" y="4968013"/>
            <a:ext cx="333195" cy="333195"/>
          </a:xfrm>
          <a:prstGeom prst="rect">
            <a:avLst/>
          </a:prstGeom>
          <a:noFill/>
        </p:spPr>
      </p:pic>
      <p:pic>
        <p:nvPicPr>
          <p:cNvPr id="18" name="Picture 4" descr="SlideShare">
            <a:hlinkClick r:id="rId7"/>
          </p:cNvPr>
          <p:cNvPicPr>
            <a:picLocks noChangeAspect="1" noChangeArrowheads="1"/>
          </p:cNvPicPr>
          <p:nvPr/>
        </p:nvPicPr>
        <p:blipFill>
          <a:blip r:embed="rId8" cstate="print"/>
          <a:srcRect/>
          <a:stretch>
            <a:fillRect/>
          </a:stretch>
        </p:blipFill>
        <p:spPr bwMode="auto">
          <a:xfrm>
            <a:off x="1193474" y="4968013"/>
            <a:ext cx="333195" cy="333195"/>
          </a:xfrm>
          <a:prstGeom prst="rect">
            <a:avLst/>
          </a:prstGeom>
          <a:noFill/>
        </p:spPr>
      </p:pic>
      <p:pic>
        <p:nvPicPr>
          <p:cNvPr id="19" name="Picture 5" descr="Twitter">
            <a:hlinkClick r:id="rId9"/>
          </p:cNvPr>
          <p:cNvPicPr>
            <a:picLocks noChangeAspect="1" noChangeArrowheads="1"/>
          </p:cNvPicPr>
          <p:nvPr/>
        </p:nvPicPr>
        <p:blipFill>
          <a:blip r:embed="rId10" cstate="print"/>
          <a:srcRect/>
          <a:stretch>
            <a:fillRect/>
          </a:stretch>
        </p:blipFill>
        <p:spPr bwMode="auto">
          <a:xfrm>
            <a:off x="1576851" y="4968013"/>
            <a:ext cx="333195" cy="333195"/>
          </a:xfrm>
          <a:prstGeom prst="rect">
            <a:avLst/>
          </a:prstGeom>
          <a:noFill/>
        </p:spPr>
      </p:pic>
      <p:pic>
        <p:nvPicPr>
          <p:cNvPr id="20" name="Picture 6" descr="YouTube">
            <a:hlinkClick r:id="rId11"/>
          </p:cNvPr>
          <p:cNvPicPr>
            <a:picLocks noChangeAspect="1" noChangeArrowheads="1"/>
          </p:cNvPicPr>
          <p:nvPr/>
        </p:nvPicPr>
        <p:blipFill>
          <a:blip r:embed="rId12" cstate="print"/>
          <a:srcRect/>
          <a:stretch>
            <a:fillRect/>
          </a:stretch>
        </p:blipFill>
        <p:spPr bwMode="auto">
          <a:xfrm>
            <a:off x="1960227"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Ubuntu" panose="020B0504030602030204" pitchFamily="34" charset="0"/>
                <a:cs typeface="Arial"/>
              </a:rPr>
              <a:t>Copyright © 2022 Capgemini. All rights reserved.</a:t>
            </a:r>
          </a:p>
        </p:txBody>
      </p:sp>
      <p:grpSp>
        <p:nvGrpSpPr>
          <p:cNvPr id="10" name="Group 9">
            <a:extLst>
              <a:ext uri="{FF2B5EF4-FFF2-40B4-BE49-F238E27FC236}">
                <a16:creationId xmlns:a16="http://schemas.microsoft.com/office/drawing/2014/main" id="{D2BF7E9C-FD5C-450A-A1FB-17FC5765ED64}"/>
              </a:ext>
            </a:extLst>
          </p:cNvPr>
          <p:cNvGrpSpPr>
            <a:grpSpLocks noChangeAspect="1"/>
          </p:cNvGrpSpPr>
          <p:nvPr/>
        </p:nvGrpSpPr>
        <p:grpSpPr>
          <a:xfrm>
            <a:off x="411020" y="984393"/>
            <a:ext cx="2231297" cy="501650"/>
            <a:chOff x="9550400" y="612775"/>
            <a:chExt cx="2231297" cy="501650"/>
          </a:xfrm>
        </p:grpSpPr>
        <p:sp>
          <p:nvSpPr>
            <p:cNvPr id="11" name="Freeform: Shape 10">
              <a:extLst>
                <a:ext uri="{FF2B5EF4-FFF2-40B4-BE49-F238E27FC236}">
                  <a16:creationId xmlns:a16="http://schemas.microsoft.com/office/drawing/2014/main" id="{DD26A2F9-4026-4DA7-B00A-AE48A8B0CD4D}"/>
                </a:ext>
              </a:extLst>
            </p:cNvPr>
            <p:cNvSpPr/>
            <p:nvPr/>
          </p:nvSpPr>
          <p:spPr>
            <a:xfrm>
              <a:off x="11517270" y="764033"/>
              <a:ext cx="261161" cy="212194"/>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12" name="Freeform: Shape 11">
              <a:extLst>
                <a:ext uri="{FF2B5EF4-FFF2-40B4-BE49-F238E27FC236}">
                  <a16:creationId xmlns:a16="http://schemas.microsoft.com/office/drawing/2014/main" id="{0DCE7524-34A1-429B-91AD-74BE1F944E06}"/>
                </a:ext>
              </a:extLst>
            </p:cNvPr>
            <p:cNvSpPr/>
            <p:nvPr/>
          </p:nvSpPr>
          <p:spPr>
            <a:xfrm>
              <a:off x="9550400" y="619305"/>
              <a:ext cx="1811806" cy="495120"/>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4" name="Freeform: Shape 13">
              <a:extLst>
                <a:ext uri="{FF2B5EF4-FFF2-40B4-BE49-F238E27FC236}">
                  <a16:creationId xmlns:a16="http://schemas.microsoft.com/office/drawing/2014/main" id="{0F68A571-28DB-453F-861D-36D50723ED4D}"/>
                </a:ext>
              </a:extLst>
            </p:cNvPr>
            <p:cNvSpPr/>
            <p:nvPr/>
          </p:nvSpPr>
          <p:spPr>
            <a:xfrm>
              <a:off x="10915493" y="643771"/>
              <a:ext cx="54409" cy="59850"/>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5" name="Freeform: Shape 14">
              <a:extLst>
                <a:ext uri="{FF2B5EF4-FFF2-40B4-BE49-F238E27FC236}">
                  <a16:creationId xmlns:a16="http://schemas.microsoft.com/office/drawing/2014/main" id="{923DB0AA-5015-4FEA-A32D-44257CF2BED3}"/>
                </a:ext>
              </a:extLst>
            </p:cNvPr>
            <p:cNvSpPr/>
            <p:nvPr/>
          </p:nvSpPr>
          <p:spPr>
            <a:xfrm>
              <a:off x="11270254" y="654106"/>
              <a:ext cx="54409" cy="54409"/>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6" name="Freeform: Shape 15">
              <a:extLst>
                <a:ext uri="{FF2B5EF4-FFF2-40B4-BE49-F238E27FC236}">
                  <a16:creationId xmlns:a16="http://schemas.microsoft.com/office/drawing/2014/main" id="{3E8CD59B-E3D8-4E45-86AA-3D0BB06038CE}"/>
                </a:ext>
              </a:extLst>
            </p:cNvPr>
            <p:cNvSpPr/>
            <p:nvPr/>
          </p:nvSpPr>
          <p:spPr>
            <a:xfrm>
              <a:off x="11384515" y="612775"/>
              <a:ext cx="397182" cy="331893"/>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Tree>
    <p:extLst>
      <p:ext uri="{BB962C8B-B14F-4D97-AF65-F5344CB8AC3E}">
        <p14:creationId xmlns:p14="http://schemas.microsoft.com/office/powerpoint/2010/main" val="67930656"/>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type="blank" preserve="1">
  <p:cSld name="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2214" y="1295400"/>
            <a:ext cx="9702386" cy="6043284"/>
          </a:xfrm>
          <a:prstGeom prst="rect">
            <a:avLst/>
          </a:prstGeom>
        </p:spPr>
      </p:pic>
      <p:pic>
        <p:nvPicPr>
          <p:cNvPr id="22" name="Picture 7" descr="facebook">
            <a:hlinkClick r:id="rId3"/>
            <a:extLst>
              <a:ext uri="{FF2B5EF4-FFF2-40B4-BE49-F238E27FC236}">
                <a16:creationId xmlns:a16="http://schemas.microsoft.com/office/drawing/2014/main" id="{BCC76D32-C587-45AA-A26C-ED5B038C867B}"/>
              </a:ext>
            </a:extLst>
          </p:cNvPr>
          <p:cNvPicPr>
            <a:picLocks noChangeAspect="1" noChangeArrowheads="1"/>
          </p:cNvPicPr>
          <p:nvPr/>
        </p:nvPicPr>
        <p:blipFill>
          <a:blip r:embed="rId4" cstate="print"/>
          <a:srcRect/>
          <a:stretch>
            <a:fillRect/>
          </a:stretch>
        </p:blipFill>
        <p:spPr bwMode="auto">
          <a:xfrm>
            <a:off x="426720" y="5328053"/>
            <a:ext cx="333195" cy="333195"/>
          </a:xfrm>
          <a:prstGeom prst="rect">
            <a:avLst/>
          </a:prstGeom>
          <a:noFill/>
        </p:spPr>
      </p:pic>
      <p:pic>
        <p:nvPicPr>
          <p:cNvPr id="17" name="Picture 2" descr="LinkedIn">
            <a:hlinkClick r:id="rId5"/>
            <a:extLst>
              <a:ext uri="{FF2B5EF4-FFF2-40B4-BE49-F238E27FC236}">
                <a16:creationId xmlns:a16="http://schemas.microsoft.com/office/drawing/2014/main" id="{F6DF1D6E-8462-43E1-AFC5-8A5C855024F4}"/>
              </a:ext>
            </a:extLst>
          </p:cNvPr>
          <p:cNvPicPr>
            <a:picLocks noChangeAspect="1" noChangeArrowheads="1"/>
          </p:cNvPicPr>
          <p:nvPr/>
        </p:nvPicPr>
        <p:blipFill>
          <a:blip r:embed="rId6" cstate="print"/>
          <a:srcRect/>
          <a:stretch>
            <a:fillRect/>
          </a:stretch>
        </p:blipFill>
        <p:spPr bwMode="auto">
          <a:xfrm>
            <a:off x="810097" y="5328053"/>
            <a:ext cx="333195" cy="333195"/>
          </a:xfrm>
          <a:prstGeom prst="rect">
            <a:avLst/>
          </a:prstGeom>
          <a:noFill/>
        </p:spPr>
      </p:pic>
      <p:pic>
        <p:nvPicPr>
          <p:cNvPr id="19" name="Picture 4" descr="SlideShare">
            <a:hlinkClick r:id="rId7"/>
            <a:extLst>
              <a:ext uri="{FF2B5EF4-FFF2-40B4-BE49-F238E27FC236}">
                <a16:creationId xmlns:a16="http://schemas.microsoft.com/office/drawing/2014/main" id="{DA74C6D2-FFE3-4CE8-B52D-0A33097AEEAF}"/>
              </a:ext>
            </a:extLst>
          </p:cNvPr>
          <p:cNvPicPr>
            <a:picLocks noChangeAspect="1" noChangeArrowheads="1"/>
          </p:cNvPicPr>
          <p:nvPr/>
        </p:nvPicPr>
        <p:blipFill>
          <a:blip r:embed="rId8" cstate="print"/>
          <a:srcRect/>
          <a:stretch>
            <a:fillRect/>
          </a:stretch>
        </p:blipFill>
        <p:spPr bwMode="auto">
          <a:xfrm>
            <a:off x="1193474" y="5328053"/>
            <a:ext cx="333195" cy="333195"/>
          </a:xfrm>
          <a:prstGeom prst="rect">
            <a:avLst/>
          </a:prstGeom>
          <a:noFill/>
        </p:spPr>
      </p:pic>
      <p:pic>
        <p:nvPicPr>
          <p:cNvPr id="20" name="Picture 5" descr="Twitter">
            <a:hlinkClick r:id="rId9"/>
            <a:extLst>
              <a:ext uri="{FF2B5EF4-FFF2-40B4-BE49-F238E27FC236}">
                <a16:creationId xmlns:a16="http://schemas.microsoft.com/office/drawing/2014/main" id="{14E10122-92A2-4535-9737-8C1BE0EE0AEC}"/>
              </a:ext>
            </a:extLst>
          </p:cNvPr>
          <p:cNvPicPr>
            <a:picLocks noChangeAspect="1" noChangeArrowheads="1"/>
          </p:cNvPicPr>
          <p:nvPr/>
        </p:nvPicPr>
        <p:blipFill>
          <a:blip r:embed="rId10" cstate="print"/>
          <a:srcRect/>
          <a:stretch>
            <a:fillRect/>
          </a:stretch>
        </p:blipFill>
        <p:spPr bwMode="auto">
          <a:xfrm>
            <a:off x="1576851" y="5328053"/>
            <a:ext cx="333195" cy="333195"/>
          </a:xfrm>
          <a:prstGeom prst="rect">
            <a:avLst/>
          </a:prstGeom>
          <a:noFill/>
        </p:spPr>
      </p:pic>
      <p:pic>
        <p:nvPicPr>
          <p:cNvPr id="21" name="Picture 6" descr="YouTube">
            <a:hlinkClick r:id="rId11"/>
            <a:extLst>
              <a:ext uri="{FF2B5EF4-FFF2-40B4-BE49-F238E27FC236}">
                <a16:creationId xmlns:a16="http://schemas.microsoft.com/office/drawing/2014/main" id="{BA6EF96A-02CA-41A1-9095-358FE7486671}"/>
              </a:ext>
            </a:extLst>
          </p:cNvPr>
          <p:cNvPicPr>
            <a:picLocks noChangeAspect="1" noChangeArrowheads="1"/>
          </p:cNvPicPr>
          <p:nvPr/>
        </p:nvPicPr>
        <p:blipFill>
          <a:blip r:embed="rId12" cstate="print"/>
          <a:srcRect/>
          <a:stretch>
            <a:fillRect/>
          </a:stretch>
        </p:blipFill>
        <p:spPr bwMode="auto">
          <a:xfrm>
            <a:off x="1960227" y="5328053"/>
            <a:ext cx="333195" cy="333195"/>
          </a:xfrm>
          <a:prstGeom prst="rect">
            <a:avLst/>
          </a:prstGeom>
          <a:noFill/>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a:solidFill>
                  <a:schemeClr val="bg1"/>
                </a:solidFill>
                <a:latin typeface="Ubuntu" panose="020B0504030602030204" pitchFamily="34" charset="0"/>
                <a:cs typeface="Arial"/>
              </a:rPr>
              <a:t>Copyright © 2022 Capgemini. All rights reserved.</a:t>
            </a:r>
          </a:p>
        </p:txBody>
      </p:sp>
      <p:grpSp>
        <p:nvGrpSpPr>
          <p:cNvPr id="10" name="Group 9">
            <a:extLst>
              <a:ext uri="{FF2B5EF4-FFF2-40B4-BE49-F238E27FC236}">
                <a16:creationId xmlns:a16="http://schemas.microsoft.com/office/drawing/2014/main" id="{665BE2A4-4ACC-4E54-9A85-77DFC7F65F01}"/>
              </a:ext>
            </a:extLst>
          </p:cNvPr>
          <p:cNvGrpSpPr>
            <a:grpSpLocks noChangeAspect="1"/>
          </p:cNvGrpSpPr>
          <p:nvPr/>
        </p:nvGrpSpPr>
        <p:grpSpPr>
          <a:xfrm>
            <a:off x="9161718" y="5747778"/>
            <a:ext cx="2231297" cy="501650"/>
            <a:chOff x="9550400" y="612775"/>
            <a:chExt cx="2231297" cy="501650"/>
          </a:xfrm>
        </p:grpSpPr>
        <p:sp>
          <p:nvSpPr>
            <p:cNvPr id="11" name="Freeform: Shape 10">
              <a:extLst>
                <a:ext uri="{FF2B5EF4-FFF2-40B4-BE49-F238E27FC236}">
                  <a16:creationId xmlns:a16="http://schemas.microsoft.com/office/drawing/2014/main" id="{0CE61B69-C06F-4D0A-9437-BC399186700C}"/>
                </a:ext>
              </a:extLst>
            </p:cNvPr>
            <p:cNvSpPr/>
            <p:nvPr/>
          </p:nvSpPr>
          <p:spPr>
            <a:xfrm>
              <a:off x="11517270" y="764033"/>
              <a:ext cx="261161" cy="212194"/>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12" name="Freeform: Shape 11">
              <a:extLst>
                <a:ext uri="{FF2B5EF4-FFF2-40B4-BE49-F238E27FC236}">
                  <a16:creationId xmlns:a16="http://schemas.microsoft.com/office/drawing/2014/main" id="{96F08509-FA85-4193-A497-0E692E886745}"/>
                </a:ext>
              </a:extLst>
            </p:cNvPr>
            <p:cNvSpPr/>
            <p:nvPr/>
          </p:nvSpPr>
          <p:spPr>
            <a:xfrm>
              <a:off x="9550400" y="619305"/>
              <a:ext cx="1811806" cy="495120"/>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3" name="Freeform: Shape 12">
              <a:extLst>
                <a:ext uri="{FF2B5EF4-FFF2-40B4-BE49-F238E27FC236}">
                  <a16:creationId xmlns:a16="http://schemas.microsoft.com/office/drawing/2014/main" id="{A40793F6-8550-4F9A-98A1-4BD1C63DE3E6}"/>
                </a:ext>
              </a:extLst>
            </p:cNvPr>
            <p:cNvSpPr/>
            <p:nvPr/>
          </p:nvSpPr>
          <p:spPr>
            <a:xfrm>
              <a:off x="10915493" y="643771"/>
              <a:ext cx="54409" cy="59850"/>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4" name="Freeform: Shape 13">
              <a:extLst>
                <a:ext uri="{FF2B5EF4-FFF2-40B4-BE49-F238E27FC236}">
                  <a16:creationId xmlns:a16="http://schemas.microsoft.com/office/drawing/2014/main" id="{AF68DDBF-3EE2-4BFD-9E41-A500A2DB8E18}"/>
                </a:ext>
              </a:extLst>
            </p:cNvPr>
            <p:cNvSpPr/>
            <p:nvPr/>
          </p:nvSpPr>
          <p:spPr>
            <a:xfrm>
              <a:off x="11270254" y="654106"/>
              <a:ext cx="54409" cy="54409"/>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5" name="Freeform: Shape 14">
              <a:extLst>
                <a:ext uri="{FF2B5EF4-FFF2-40B4-BE49-F238E27FC236}">
                  <a16:creationId xmlns:a16="http://schemas.microsoft.com/office/drawing/2014/main" id="{F22E4E1F-DFDD-4EF6-8781-D2EC7D60F89D}"/>
                </a:ext>
              </a:extLst>
            </p:cNvPr>
            <p:cNvSpPr/>
            <p:nvPr/>
          </p:nvSpPr>
          <p:spPr>
            <a:xfrm>
              <a:off x="11384515" y="612775"/>
              <a:ext cx="397182" cy="331893"/>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Tree>
    <p:extLst>
      <p:ext uri="{BB962C8B-B14F-4D97-AF65-F5344CB8AC3E}">
        <p14:creationId xmlns:p14="http://schemas.microsoft.com/office/powerpoint/2010/main" val="333753300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415913312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000" b="0" i="0">
                <a:solidFill>
                  <a:srgbClr val="006FAC"/>
                </a:solidFill>
                <a:latin typeface="Verdana"/>
                <a:cs typeface="Verdana"/>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6" name="Holder 6"/>
          <p:cNvSpPr>
            <a:spLocks noGrp="1"/>
          </p:cNvSpPr>
          <p:nvPr>
            <p:ph type="sldNum" sz="quarter" idx="7"/>
          </p:nvPr>
        </p:nvSpPr>
        <p:spPr/>
        <p:txBody>
          <a:bodyPr lIns="0" tIns="0" rIns="0" bIns="0"/>
          <a:lstStyle>
            <a:lvl1pPr>
              <a:defRPr sz="800" b="0" i="0">
                <a:solidFill>
                  <a:srgbClr val="A6A6A6"/>
                </a:solidFill>
                <a:latin typeface="Verdana"/>
                <a:cs typeface="Verdana"/>
              </a:defRPr>
            </a:lvl1pPr>
          </a:lstStyle>
          <a:p>
            <a:pPr marL="12700">
              <a:lnSpc>
                <a:spcPct val="100000"/>
              </a:lnSpc>
              <a:spcBef>
                <a:spcPts val="105"/>
              </a:spcBef>
            </a:pPr>
            <a:r>
              <a:t>© Capgemini 2019. All </a:t>
            </a:r>
            <a:r>
              <a:rPr spc="-5"/>
              <a:t>rights </a:t>
            </a:r>
            <a:r>
              <a:t>reserved |</a:t>
            </a:r>
            <a:r>
              <a:rPr spc="10"/>
              <a:t> </a:t>
            </a:r>
            <a:fld id="{81D60167-4931-47E6-BA6A-407CBD079E47}" type="slidenum">
              <a:rPr dirty="0"/>
              <a:t>‹#›</a:t>
            </a:fld>
            <a:endParaRPr/>
          </a:p>
        </p:txBody>
      </p:sp>
      <p:sp>
        <p:nvSpPr>
          <p:cNvPr id="7" name="Holder 4">
            <a:extLst>
              <a:ext uri="{FF2B5EF4-FFF2-40B4-BE49-F238E27FC236}">
                <a16:creationId xmlns:a16="http://schemas.microsoft.com/office/drawing/2014/main" id="{789CABD2-6C77-374C-BAFF-6B1AD9B99B38}"/>
              </a:ext>
            </a:extLst>
          </p:cNvPr>
          <p:cNvSpPr txBox="1">
            <a:spLocks/>
          </p:cNvSpPr>
          <p:nvPr userDrawn="1"/>
        </p:nvSpPr>
        <p:spPr>
          <a:xfrm>
            <a:off x="401924" y="6618754"/>
            <a:ext cx="3154679" cy="123111"/>
          </a:xfrm>
          <a:prstGeom prst="rect">
            <a:avLst/>
          </a:prstGeom>
        </p:spPr>
        <p:txBody>
          <a:bodyPr wrap="square" lIns="0" tIns="0" rIns="0" bIns="0">
            <a:spAutoFit/>
          </a:bodyPr>
          <a:lstStyle>
            <a:defPPr>
              <a:defRPr lang="en-US"/>
            </a:defPPr>
            <a:lvl1pPr marL="0" algn="l" defTabSz="914400" rtl="0" eaLnBrk="1" latinLnBrk="0" hangingPunct="1">
              <a:defRPr sz="800" b="0" i="0" kern="1200">
                <a:solidFill>
                  <a:srgbClr val="A6A6A6"/>
                </a:solidFill>
                <a:latin typeface="Verdana"/>
                <a:ea typeface="+mn-ea"/>
                <a:cs typeface="Verdana"/>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0">
              <a:spcBef>
                <a:spcPts val="105"/>
              </a:spcBef>
            </a:pPr>
            <a:r>
              <a:rPr lang="en-US" spc="-5"/>
              <a:t>Capgemini – Microsoft Azure  Integration Capabilities</a:t>
            </a:r>
            <a:endParaRPr lang="en-US"/>
          </a:p>
        </p:txBody>
      </p:sp>
    </p:spTree>
    <p:extLst>
      <p:ext uri="{BB962C8B-B14F-4D97-AF65-F5344CB8AC3E}">
        <p14:creationId xmlns:p14="http://schemas.microsoft.com/office/powerpoint/2010/main" val="361995423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matchingName="1_Only Content">
  <p:cSld name="1_Only Content">
    <p:spTree>
      <p:nvGrpSpPr>
        <p:cNvPr id="1" name="Shape 191"/>
        <p:cNvGrpSpPr/>
        <p:nvPr/>
      </p:nvGrpSpPr>
      <p:grpSpPr>
        <a:xfrm>
          <a:off x="0" y="0"/>
          <a:ext cx="0" cy="0"/>
          <a:chOff x="0" y="0"/>
          <a:chExt cx="0" cy="0"/>
        </a:xfrm>
      </p:grpSpPr>
    </p:spTree>
    <p:extLst>
      <p:ext uri="{BB962C8B-B14F-4D97-AF65-F5344CB8AC3E}">
        <p14:creationId xmlns:p14="http://schemas.microsoft.com/office/powerpoint/2010/main" val="316641906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Blank-White">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spTree>
    <p:extLst>
      <p:ext uri="{BB962C8B-B14F-4D97-AF65-F5344CB8AC3E}">
        <p14:creationId xmlns:p14="http://schemas.microsoft.com/office/powerpoint/2010/main" val="289521281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3_Title Subtitle purple">
    <p:bg>
      <p:bgPr>
        <a:solidFill>
          <a:schemeClr val="tx2"/>
        </a:solidFill>
        <a:effectLst/>
      </p:bgPr>
    </p:bg>
    <p:spTree>
      <p:nvGrpSpPr>
        <p:cNvPr id="1" name=""/>
        <p:cNvGrpSpPr/>
        <p:nvPr/>
      </p:nvGrpSpPr>
      <p:grpSpPr>
        <a:xfrm>
          <a:off x="0" y="0"/>
          <a:ext cx="0" cy="0"/>
          <a:chOff x="0" y="0"/>
          <a:chExt cx="0" cy="0"/>
        </a:xfrm>
      </p:grpSpPr>
      <p:grpSp>
        <p:nvGrpSpPr>
          <p:cNvPr id="8" name="Group 37">
            <a:extLst>
              <a:ext uri="{FF2B5EF4-FFF2-40B4-BE49-F238E27FC236}">
                <a16:creationId xmlns:a16="http://schemas.microsoft.com/office/drawing/2014/main" id="{8045CCAE-BD2B-495D-9881-0F2682E7F5DC}"/>
              </a:ext>
            </a:extLst>
          </p:cNvPr>
          <p:cNvGrpSpPr/>
          <p:nvPr userDrawn="1"/>
        </p:nvGrpSpPr>
        <p:grpSpPr>
          <a:xfrm>
            <a:off x="11501102" y="171573"/>
            <a:ext cx="419436" cy="388087"/>
            <a:chOff x="5481638" y="2859088"/>
            <a:chExt cx="1231900" cy="1139825"/>
          </a:xfrm>
          <a:solidFill>
            <a:schemeClr val="bg1"/>
          </a:solidFill>
        </p:grpSpPr>
        <p:sp>
          <p:nvSpPr>
            <p:cNvPr id="9" name="Freeform 320">
              <a:extLst>
                <a:ext uri="{FF2B5EF4-FFF2-40B4-BE49-F238E27FC236}">
                  <a16:creationId xmlns:a16="http://schemas.microsoft.com/office/drawing/2014/main" id="{6A17AE04-922A-4540-99C5-F8D62C3B08E0}"/>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0" name="Freeform 321">
              <a:extLst>
                <a:ext uri="{FF2B5EF4-FFF2-40B4-BE49-F238E27FC236}">
                  <a16:creationId xmlns:a16="http://schemas.microsoft.com/office/drawing/2014/main" id="{DF832F2C-D3A7-4DE5-96EA-08ADD488B23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5" name="Text Placeholder 4">
            <a:extLst>
              <a:ext uri="{FF2B5EF4-FFF2-40B4-BE49-F238E27FC236}">
                <a16:creationId xmlns:a16="http://schemas.microsoft.com/office/drawing/2014/main" id="{731E7E6E-74A8-47A7-A94A-0A7875B86B4C}"/>
              </a:ext>
            </a:extLst>
          </p:cNvPr>
          <p:cNvSpPr>
            <a:spLocks noGrp="1"/>
          </p:cNvSpPr>
          <p:nvPr>
            <p:ph type="body" sz="quarter" idx="11" hasCustomPrompt="1"/>
          </p:nvPr>
        </p:nvSpPr>
        <p:spPr>
          <a:xfrm>
            <a:off x="550863" y="405000"/>
            <a:ext cx="4714562" cy="504713"/>
          </a:xfrm>
        </p:spPr>
        <p:txBody>
          <a:bodyPr>
            <a:noAutofit/>
          </a:bodyPr>
          <a:lstStyle>
            <a:lvl1pPr>
              <a:defRPr sz="2000">
                <a:solidFill>
                  <a:schemeClr val="bg1"/>
                </a:solidFill>
              </a:defRPr>
            </a:lvl1pPr>
            <a:lvl2pPr>
              <a:defRPr sz="2000">
                <a:solidFill>
                  <a:schemeClr val="bg1"/>
                </a:solidFill>
              </a:defRPr>
            </a:lvl2pPr>
            <a:lvl3pPr>
              <a:defRPr sz="2000">
                <a:solidFill>
                  <a:schemeClr val="bg1"/>
                </a:solidFill>
              </a:defRPr>
            </a:lvl3pPr>
            <a:lvl4pPr>
              <a:defRPr sz="2000">
                <a:solidFill>
                  <a:schemeClr val="bg1"/>
                </a:solidFill>
              </a:defRPr>
            </a:lvl4pPr>
            <a:lvl5pPr>
              <a:defRPr sz="2000">
                <a:solidFill>
                  <a:schemeClr val="bg1"/>
                </a:solidFill>
              </a:defRPr>
            </a:lvl5pPr>
          </a:lstStyle>
          <a:p>
            <a:pPr lvl="0"/>
            <a:r>
              <a:rPr lang="en-US"/>
              <a:t>Click to Edit Title</a:t>
            </a:r>
          </a:p>
        </p:txBody>
      </p:sp>
      <p:sp>
        <p:nvSpPr>
          <p:cNvPr id="3" name="Picture Placeholder 2">
            <a:extLst>
              <a:ext uri="{FF2B5EF4-FFF2-40B4-BE49-F238E27FC236}">
                <a16:creationId xmlns:a16="http://schemas.microsoft.com/office/drawing/2014/main" id="{8501EE53-0CDA-4438-B807-3A39C317340B}"/>
              </a:ext>
            </a:extLst>
          </p:cNvPr>
          <p:cNvSpPr>
            <a:spLocks noGrp="1"/>
          </p:cNvSpPr>
          <p:nvPr>
            <p:ph type="pic" sz="quarter" idx="10"/>
          </p:nvPr>
        </p:nvSpPr>
        <p:spPr>
          <a:xfrm>
            <a:off x="6107430" y="0"/>
            <a:ext cx="6084570" cy="6858000"/>
          </a:xfrm>
        </p:spPr>
        <p:txBody>
          <a:bodyPr/>
          <a:lstStyle/>
          <a:p>
            <a:endParaRPr lang="en-US"/>
          </a:p>
        </p:txBody>
      </p:sp>
    </p:spTree>
    <p:extLst>
      <p:ext uri="{BB962C8B-B14F-4D97-AF65-F5344CB8AC3E}">
        <p14:creationId xmlns:p14="http://schemas.microsoft.com/office/powerpoint/2010/main" val="200244810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28" name="Image 27">
            <a:extLst>
              <a:ext uri="{FF2B5EF4-FFF2-40B4-BE49-F238E27FC236}">
                <a16:creationId xmlns:a16="http://schemas.microsoft.com/office/drawing/2014/main" id="{CFD4BD67-7A96-4F02-AD8B-7157189FD651}"/>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rot="1808368" flipV="1">
            <a:off x="4403152" y="337083"/>
            <a:ext cx="8831279" cy="4103533"/>
          </a:xfrm>
          <a:prstGeom prst="rect">
            <a:avLst/>
          </a:prstGeom>
        </p:spPr>
      </p:pic>
      <p:pic>
        <p:nvPicPr>
          <p:cNvPr id="21" name="Picture 7" descr="facebook">
            <a:hlinkClick r:id="rId3"/>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426720" y="4968013"/>
            <a:ext cx="333195" cy="333195"/>
          </a:xfrm>
          <a:prstGeom prst="rect">
            <a:avLst/>
          </a:prstGeom>
          <a:noFill/>
        </p:spPr>
      </p:pic>
      <p:pic>
        <p:nvPicPr>
          <p:cNvPr id="17" name="Picture 2" descr="LinkedIn">
            <a:hlinkClick r:id="rId5"/>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810097" y="4968013"/>
            <a:ext cx="333195" cy="333195"/>
          </a:xfrm>
          <a:prstGeom prst="rect">
            <a:avLst/>
          </a:prstGeom>
          <a:noFill/>
        </p:spPr>
      </p:pic>
      <p:pic>
        <p:nvPicPr>
          <p:cNvPr id="18" name="Picture 4" descr="SlideShare">
            <a:hlinkClick r:id="rId7"/>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1193474" y="4968013"/>
            <a:ext cx="333195" cy="333195"/>
          </a:xfrm>
          <a:prstGeom prst="rect">
            <a:avLst/>
          </a:prstGeom>
          <a:noFill/>
        </p:spPr>
      </p:pic>
      <p:pic>
        <p:nvPicPr>
          <p:cNvPr id="19" name="Picture 5" descr="Twitter">
            <a:hlinkClick r:id="rId9"/>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1576851" y="4968013"/>
            <a:ext cx="333195" cy="333195"/>
          </a:xfrm>
          <a:prstGeom prst="rect">
            <a:avLst/>
          </a:prstGeom>
          <a:noFill/>
        </p:spPr>
      </p:pic>
      <p:pic>
        <p:nvPicPr>
          <p:cNvPr id="20" name="Picture 6" descr="YouTube">
            <a:hlinkClick r:id="rId11"/>
          </p:cNvPr>
          <p:cNvPicPr>
            <a:picLocks noChangeAspect="1" noChangeArrowheads="1"/>
          </p:cNvPicPr>
          <p:nvPr userDrawn="1"/>
        </p:nvPicPr>
        <p:blipFill>
          <a:blip r:embed="rId12" cstate="screen">
            <a:extLst>
              <a:ext uri="{28A0092B-C50C-407E-A947-70E740481C1C}">
                <a14:useLocalDpi xmlns:a14="http://schemas.microsoft.com/office/drawing/2010/main"/>
              </a:ext>
            </a:extLst>
          </a:blip>
          <a:srcRect/>
          <a:stretch>
            <a:fillRect/>
          </a:stretch>
        </p:blipFill>
        <p:spPr bwMode="auto">
          <a:xfrm>
            <a:off x="1960227"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3 Capgemini. All rights reserved.</a:t>
            </a:r>
          </a:p>
        </p:txBody>
      </p:sp>
      <p:grpSp>
        <p:nvGrpSpPr>
          <p:cNvPr id="10" name="Group 9">
            <a:extLst>
              <a:ext uri="{FF2B5EF4-FFF2-40B4-BE49-F238E27FC236}">
                <a16:creationId xmlns:a16="http://schemas.microsoft.com/office/drawing/2014/main" id="{D2BF7E9C-FD5C-450A-A1FB-17FC5765ED64}"/>
              </a:ext>
            </a:extLst>
          </p:cNvPr>
          <p:cNvGrpSpPr>
            <a:grpSpLocks noChangeAspect="1"/>
          </p:cNvGrpSpPr>
          <p:nvPr userDrawn="1"/>
        </p:nvGrpSpPr>
        <p:grpSpPr>
          <a:xfrm>
            <a:off x="411020" y="984393"/>
            <a:ext cx="2231297" cy="501650"/>
            <a:chOff x="9550400" y="612775"/>
            <a:chExt cx="2231297" cy="501650"/>
          </a:xfrm>
        </p:grpSpPr>
        <p:sp>
          <p:nvSpPr>
            <p:cNvPr id="11" name="Freeform: Shape 10">
              <a:extLst>
                <a:ext uri="{FF2B5EF4-FFF2-40B4-BE49-F238E27FC236}">
                  <a16:creationId xmlns:a16="http://schemas.microsoft.com/office/drawing/2014/main" id="{DD26A2F9-4026-4DA7-B00A-AE48A8B0CD4D}"/>
                </a:ext>
              </a:extLst>
            </p:cNvPr>
            <p:cNvSpPr/>
            <p:nvPr/>
          </p:nvSpPr>
          <p:spPr>
            <a:xfrm>
              <a:off x="11517270" y="764033"/>
              <a:ext cx="261161" cy="212194"/>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12" name="Freeform: Shape 11">
              <a:extLst>
                <a:ext uri="{FF2B5EF4-FFF2-40B4-BE49-F238E27FC236}">
                  <a16:creationId xmlns:a16="http://schemas.microsoft.com/office/drawing/2014/main" id="{0DCE7524-34A1-429B-91AD-74BE1F944E06}"/>
                </a:ext>
              </a:extLst>
            </p:cNvPr>
            <p:cNvSpPr/>
            <p:nvPr/>
          </p:nvSpPr>
          <p:spPr>
            <a:xfrm>
              <a:off x="9550400" y="619305"/>
              <a:ext cx="1811806" cy="495120"/>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dirty="0"/>
            </a:p>
          </p:txBody>
        </p:sp>
        <p:sp>
          <p:nvSpPr>
            <p:cNvPr id="14" name="Freeform: Shape 13">
              <a:extLst>
                <a:ext uri="{FF2B5EF4-FFF2-40B4-BE49-F238E27FC236}">
                  <a16:creationId xmlns:a16="http://schemas.microsoft.com/office/drawing/2014/main" id="{0F68A571-28DB-453F-861D-36D50723ED4D}"/>
                </a:ext>
              </a:extLst>
            </p:cNvPr>
            <p:cNvSpPr/>
            <p:nvPr/>
          </p:nvSpPr>
          <p:spPr>
            <a:xfrm>
              <a:off x="10915493" y="643771"/>
              <a:ext cx="54409" cy="59850"/>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5" name="Freeform: Shape 14">
              <a:extLst>
                <a:ext uri="{FF2B5EF4-FFF2-40B4-BE49-F238E27FC236}">
                  <a16:creationId xmlns:a16="http://schemas.microsoft.com/office/drawing/2014/main" id="{923DB0AA-5015-4FEA-A32D-44257CF2BED3}"/>
                </a:ext>
              </a:extLst>
            </p:cNvPr>
            <p:cNvSpPr/>
            <p:nvPr/>
          </p:nvSpPr>
          <p:spPr>
            <a:xfrm>
              <a:off x="11270254" y="654106"/>
              <a:ext cx="54409" cy="54409"/>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6" name="Freeform: Shape 15">
              <a:extLst>
                <a:ext uri="{FF2B5EF4-FFF2-40B4-BE49-F238E27FC236}">
                  <a16:creationId xmlns:a16="http://schemas.microsoft.com/office/drawing/2014/main" id="{3E8CD59B-E3D8-4E45-86AA-3D0BB06038CE}"/>
                </a:ext>
              </a:extLst>
            </p:cNvPr>
            <p:cNvSpPr/>
            <p:nvPr/>
          </p:nvSpPr>
          <p:spPr>
            <a:xfrm>
              <a:off x="11384515" y="612775"/>
              <a:ext cx="397182" cy="331893"/>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Tree>
    <p:extLst>
      <p:ext uri="{BB962C8B-B14F-4D97-AF65-F5344CB8AC3E}">
        <p14:creationId xmlns:p14="http://schemas.microsoft.com/office/powerpoint/2010/main" val="2306478070"/>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2_Blank">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80100681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3" name="Picture 2"/>
          <p:cNvPicPr>
            <a:picLocks noChangeAspect="1"/>
          </p:cNvPicPr>
          <p:nvPr userDrawn="1"/>
        </p:nvPicPr>
        <p:blipFill rotWithShape="1">
          <a:blip r:embed="rId5" cstate="print">
            <a:duotone>
              <a:schemeClr val="accent2">
                <a:shade val="45000"/>
                <a:satMod val="135000"/>
              </a:schemeClr>
              <a:prstClr val="white"/>
            </a:duotone>
            <a:extLst>
              <a:ext uri="{28A0092B-C50C-407E-A947-70E740481C1C}">
                <a14:useLocalDpi xmlns:a14="http://schemas.microsoft.com/office/drawing/2010/main"/>
              </a:ext>
            </a:extLst>
          </a:blip>
          <a:srcRect/>
          <a:stretch/>
        </p:blipFill>
        <p:spPr>
          <a:xfrm>
            <a:off x="-23149" y="1"/>
            <a:ext cx="4103149" cy="3405503"/>
          </a:xfrm>
          <a:prstGeom prst="rect">
            <a:avLst/>
          </a:prstGeom>
        </p:spPr>
      </p:pic>
      <p:sp>
        <p:nvSpPr>
          <p:cNvPr id="4"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7" name="Text Placeholder 7">
            <a:extLst>
              <a:ext uri="{FF2B5EF4-FFF2-40B4-BE49-F238E27FC236}">
                <a16:creationId xmlns:a16="http://schemas.microsoft.com/office/drawing/2014/main" id="{C0DC5CCB-60B4-428F-B500-124D1653FB27}"/>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lumMod val="65000"/>
                  </a:schemeClr>
                </a:solidFill>
              </a:rPr>
              <a:t>© Capgemini 2019. All rights reserved  </a:t>
            </a:r>
            <a:r>
              <a:rPr lang="en-US">
                <a:solidFill>
                  <a:schemeClr val="accent2"/>
                </a:solidFill>
              </a:rPr>
              <a:t>|</a:t>
            </a:r>
          </a:p>
        </p:txBody>
      </p:sp>
    </p:spTree>
    <p:extLst>
      <p:ext uri="{BB962C8B-B14F-4D97-AF65-F5344CB8AC3E}">
        <p14:creationId xmlns:p14="http://schemas.microsoft.com/office/powerpoint/2010/main" val="105201295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407987" y="2010607"/>
            <a:ext cx="5543551" cy="4442581"/>
          </a:xfrm>
          <a:prstGeom prst="rect">
            <a:avLst/>
          </a:prstGeom>
        </p:spPr>
        <p:txBody>
          <a:bodyPr>
            <a:noAutofit/>
          </a:bodyPr>
          <a:lstStyle>
            <a:lvl1pPr>
              <a:lnSpc>
                <a:spcPct val="100000"/>
              </a:lnSpc>
              <a:defRPr sz="1333">
                <a:solidFill>
                  <a:schemeClr val="tx1"/>
                </a:solidFill>
              </a:defRPr>
            </a:lvl1pPr>
            <a:lvl2pPr>
              <a:lnSpc>
                <a:spcPct val="100000"/>
              </a:lnSpc>
              <a:defRPr sz="1143"/>
            </a:lvl2pPr>
            <a:lvl3pPr>
              <a:lnSpc>
                <a:spcPct val="100000"/>
              </a:lnSpc>
              <a:defRPr sz="1143"/>
            </a:lvl3pPr>
            <a:lvl4pPr>
              <a:lnSpc>
                <a:spcPct val="100000"/>
              </a:lnSpc>
              <a:defRPr sz="1143"/>
            </a:lvl4pPr>
            <a:lvl5pPr>
              <a:lnSpc>
                <a:spcPct val="100000"/>
              </a:lnSpc>
              <a:defRPr sz="1143"/>
            </a:lvl5pPr>
          </a:lstStyle>
          <a:p>
            <a:pPr lvl="0"/>
            <a:r>
              <a:rPr lang="en-US"/>
              <a:t>Click to insert long text</a:t>
            </a:r>
          </a:p>
        </p:txBody>
      </p:sp>
      <p:sp>
        <p:nvSpPr>
          <p:cNvPr id="11" name="Text Placeholder 7">
            <a:extLst>
              <a:ext uri="{FF2B5EF4-FFF2-40B4-BE49-F238E27FC236}">
                <a16:creationId xmlns:a16="http://schemas.microsoft.com/office/drawing/2014/main" id="{4F279807-494A-45DD-A5C6-24F625316B92}"/>
              </a:ext>
            </a:extLst>
          </p:cNvPr>
          <p:cNvSpPr>
            <a:spLocks noGrp="1"/>
          </p:cNvSpPr>
          <p:nvPr>
            <p:ph type="body" sz="quarter" idx="11" hasCustomPrompt="1"/>
          </p:nvPr>
        </p:nvSpPr>
        <p:spPr>
          <a:xfrm>
            <a:off x="6240466" y="2010606"/>
            <a:ext cx="5516444" cy="4441372"/>
          </a:xfrm>
          <a:prstGeom prst="rect">
            <a:avLst/>
          </a:prstGeom>
        </p:spPr>
        <p:txBody>
          <a:bodyPr>
            <a:noAutofit/>
          </a:bodyPr>
          <a:lstStyle>
            <a:lvl1pPr>
              <a:lnSpc>
                <a:spcPct val="100000"/>
              </a:lnSpc>
              <a:defRPr sz="1333">
                <a:solidFill>
                  <a:schemeClr val="tx1"/>
                </a:solidFill>
              </a:defRPr>
            </a:lvl1pPr>
            <a:lvl2pPr>
              <a:lnSpc>
                <a:spcPct val="100000"/>
              </a:lnSpc>
              <a:defRPr sz="1143"/>
            </a:lvl2pPr>
            <a:lvl3pPr>
              <a:lnSpc>
                <a:spcPct val="100000"/>
              </a:lnSpc>
              <a:defRPr sz="1143"/>
            </a:lvl3pPr>
            <a:lvl4pPr>
              <a:lnSpc>
                <a:spcPct val="100000"/>
              </a:lnSpc>
              <a:defRPr sz="1143"/>
            </a:lvl4pPr>
            <a:lvl5pPr>
              <a:lnSpc>
                <a:spcPct val="100000"/>
              </a:lnSpc>
              <a:defRPr sz="1143"/>
            </a:lvl5pPr>
          </a:lstStyle>
          <a:p>
            <a:pPr lvl="0"/>
            <a:r>
              <a:rPr lang="en-US"/>
              <a:t>Click to insert long text</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7987" y="1420990"/>
            <a:ext cx="5543551" cy="438494"/>
          </a:xfrm>
          <a:prstGeom prst="rect">
            <a:avLst/>
          </a:prstGeom>
        </p:spPr>
        <p:txBody>
          <a:bodyPr>
            <a:noAutofit/>
          </a:bodyPr>
          <a:lstStyle>
            <a:lvl1pPr>
              <a:lnSpc>
                <a:spcPts val="2138"/>
              </a:lnSpc>
              <a:defRPr sz="1714" b="0">
                <a:solidFill>
                  <a:srgbClr val="12ABDB"/>
                </a:solidFill>
              </a:defRPr>
            </a:lvl1pPr>
            <a:lvl2pPr>
              <a:lnSpc>
                <a:spcPct val="100000"/>
              </a:lnSpc>
              <a:defRPr sz="1143"/>
            </a:lvl2pPr>
            <a:lvl3pPr>
              <a:lnSpc>
                <a:spcPct val="100000"/>
              </a:lnSpc>
              <a:defRPr sz="1143"/>
            </a:lvl3pPr>
            <a:lvl4pPr>
              <a:lnSpc>
                <a:spcPct val="100000"/>
              </a:lnSpc>
              <a:defRPr sz="1143"/>
            </a:lvl4pPr>
            <a:lvl5pPr>
              <a:lnSpc>
                <a:spcPct val="100000"/>
              </a:lnSpc>
              <a:defRPr sz="1143"/>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240466" y="1420990"/>
            <a:ext cx="5516444" cy="438494"/>
          </a:xfrm>
          <a:prstGeom prst="rect">
            <a:avLst/>
          </a:prstGeom>
        </p:spPr>
        <p:txBody>
          <a:bodyPr>
            <a:noAutofit/>
          </a:bodyPr>
          <a:lstStyle>
            <a:lvl1pPr>
              <a:lnSpc>
                <a:spcPts val="2138"/>
              </a:lnSpc>
              <a:defRPr sz="1714" b="0">
                <a:solidFill>
                  <a:srgbClr val="12ABDB"/>
                </a:solidFill>
              </a:defRPr>
            </a:lvl1pPr>
            <a:lvl2pPr>
              <a:lnSpc>
                <a:spcPct val="100000"/>
              </a:lnSpc>
              <a:defRPr sz="1143"/>
            </a:lvl2pPr>
            <a:lvl3pPr>
              <a:lnSpc>
                <a:spcPct val="100000"/>
              </a:lnSpc>
              <a:defRPr sz="1143"/>
            </a:lvl3pPr>
            <a:lvl4pPr>
              <a:lnSpc>
                <a:spcPct val="100000"/>
              </a:lnSpc>
              <a:defRPr sz="1143"/>
            </a:lvl4pPr>
            <a:lvl5pPr>
              <a:lnSpc>
                <a:spcPct val="100000"/>
              </a:lnSpc>
              <a:defRPr sz="1143"/>
            </a:lvl5pPr>
          </a:lstStyle>
          <a:p>
            <a:pPr lvl="0"/>
            <a:r>
              <a:rPr lang="en-US"/>
              <a:t>Click to insert title</a:t>
            </a:r>
          </a:p>
        </p:txBody>
      </p:sp>
      <p:sp>
        <p:nvSpPr>
          <p:cNvPr id="9"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407988" y="404814"/>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2916"/>
              </a:lnSpc>
            </a:pPr>
            <a:r>
              <a:rPr lang="en-US"/>
              <a:t>Click to insert title</a:t>
            </a:r>
            <a:endParaRPr lang="pt-PT"/>
          </a:p>
        </p:txBody>
      </p:sp>
      <p:sp>
        <p:nvSpPr>
          <p:cNvPr id="16" name="Retângulo 43">
            <a:extLst>
              <a:ext uri="{FF2B5EF4-FFF2-40B4-BE49-F238E27FC236}">
                <a16:creationId xmlns:a16="http://schemas.microsoft.com/office/drawing/2014/main" id="{25FC8637-25BD-4C09-AF25-56B4243DAB3D}"/>
              </a:ext>
            </a:extLst>
          </p:cNvPr>
          <p:cNvSpPr/>
          <p:nvPr userDrawn="1"/>
        </p:nvSpPr>
        <p:spPr>
          <a:xfrm>
            <a:off x="11663073" y="6555758"/>
            <a:ext cx="363316" cy="206987"/>
          </a:xfrm>
          <a:prstGeom prst="rect">
            <a:avLst/>
          </a:prstGeom>
        </p:spPr>
        <p:txBody>
          <a:bodyPr wrap="none" lIns="88871" tIns="44435" rIns="88871" bIns="44435">
            <a:spAutoFit/>
          </a:bodyPr>
          <a:lstStyle/>
          <a:p>
            <a:pPr algn="r" defTabSz="888727"/>
            <a:fld id="{0502E5A9-B53C-401E-A0E0-4A359BB0A9E5}" type="slidenum">
              <a:rPr lang="en-US" sz="762">
                <a:solidFill>
                  <a:prstClr val="black">
                    <a:lumMod val="50000"/>
                    <a:lumOff val="50000"/>
                  </a:prstClr>
                </a:solidFill>
                <a:cs typeface="Arial" panose="020B0604020202020204" pitchFamily="34" charset="0"/>
              </a:rPr>
              <a:pPr algn="r" defTabSz="888727"/>
              <a:t>‹#›</a:t>
            </a:fld>
            <a:endParaRPr lang="en-US" sz="762">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defTabSz="888727">
              <a:lnSpc>
                <a:spcPct val="85000"/>
              </a:lnSpc>
              <a:defRPr/>
            </a:pPr>
            <a:endParaRPr lang="fr-FR" sz="762" kern="0">
              <a:solidFill>
                <a:srgbClr val="00458D"/>
              </a:solidFill>
              <a:cs typeface="Arial" panose="020B0604020202020204" pitchFamily="34" charset="0"/>
            </a:endParaRP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361309" y="6555758"/>
            <a:ext cx="2223686" cy="219456"/>
          </a:xfrm>
          <a:prstGeom prst="rect">
            <a:avLst/>
          </a:prstGeom>
        </p:spPr>
        <p:txBody>
          <a:bodyPr wrap="none" lIns="0" tIns="0" rIns="0" bIns="0" anchor="ctr">
            <a:noAutofit/>
          </a:bodyPr>
          <a:lstStyle/>
          <a:p>
            <a:pPr defTabSz="888727"/>
            <a:r>
              <a:rPr lang="en-US" sz="762">
                <a:solidFill>
                  <a:srgbClr val="EDEDED">
                    <a:lumMod val="50000"/>
                  </a:srgbClr>
                </a:solidFill>
                <a:cs typeface="Arial" panose="020B0604020202020204" pitchFamily="34" charset="0"/>
              </a:rPr>
              <a:t>© 2020 Capgemini. All rights reserved.</a:t>
            </a:r>
          </a:p>
        </p:txBody>
      </p:sp>
      <p:pic>
        <p:nvPicPr>
          <p:cNvPr id="12"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cstate="print">
            <a:extLst>
              <a:ext uri="{96DAC541-7B7A-43D3-8B79-37D633B846F1}">
                <asvg:svgBlip xmlns:asvg="http://schemas.microsoft.com/office/drawing/2016/SVG/main" r:embed="rId4"/>
              </a:ext>
            </a:extLst>
          </a:blip>
          <a:srcRect l="81836" t="-4713" b="16530"/>
          <a:stretch/>
        </p:blipFill>
        <p:spPr>
          <a:xfrm>
            <a:off x="11547794" y="188640"/>
            <a:ext cx="424356" cy="459624"/>
          </a:xfrm>
          <a:prstGeom prst="rect">
            <a:avLst/>
          </a:prstGeom>
        </p:spPr>
      </p:pic>
    </p:spTree>
    <p:extLst>
      <p:ext uri="{BB962C8B-B14F-4D97-AF65-F5344CB8AC3E}">
        <p14:creationId xmlns:p14="http://schemas.microsoft.com/office/powerpoint/2010/main" val="389553707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2_Blank-Whit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28546978"/>
      </p:ext>
    </p:extLst>
  </p:cSld>
  <p:clrMapOvr>
    <a:overrideClrMapping bg1="lt1" tx1="dk1" bg2="lt2" tx2="dk2" accent1="accent1" accent2="accent2" accent3="accent3" accent4="accent4" accent5="accent5" accent6="accent6" hlink="hlink" folHlink="folHlink"/>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954" y="1589"/>
          <a:ext cx="1953" cy="1587"/>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954" y="1589"/>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itle Placeholder 1"/>
          <p:cNvSpPr>
            <a:spLocks noGrp="1"/>
          </p:cNvSpPr>
          <p:nvPr>
            <p:ph type="title"/>
            <p:custDataLst>
              <p:tags r:id="rId2"/>
            </p:custDataLst>
          </p:nvPr>
        </p:nvSpPr>
        <p:spPr>
          <a:xfrm>
            <a:off x="18" y="4"/>
            <a:ext cx="12191999" cy="1002135"/>
          </a:xfrm>
          <a:prstGeom prst="rect">
            <a:avLst/>
          </a:prstGeom>
          <a:effectLst/>
        </p:spPr>
        <p:txBody>
          <a:bodyPr vert="horz" lIns="297529" tIns="33059" rIns="165294" bIns="33059" rtlCol="0" anchor="ctr">
            <a:noAutofit/>
          </a:bodyPr>
          <a:lstStyle/>
          <a:p>
            <a:r>
              <a:rPr lang="en-US" noProof="0"/>
              <a:t>Click to edit Master title style</a:t>
            </a:r>
          </a:p>
        </p:txBody>
      </p:sp>
      <p:sp>
        <p:nvSpPr>
          <p:cNvPr id="17" name="Rectangle 16"/>
          <p:cNvSpPr/>
          <p:nvPr userDrawn="1"/>
        </p:nvSpPr>
        <p:spPr>
          <a:xfrm>
            <a:off x="0" y="1003879"/>
            <a:ext cx="10666816" cy="931333"/>
          </a:xfrm>
          <a:prstGeom prst="rect">
            <a:avLst/>
          </a:prstGeom>
          <a:solidFill>
            <a:srgbClr val="0098C7"/>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998C85">
                  <a:lumMod val="50000"/>
                </a:srgbClr>
              </a:solidFill>
              <a:effectLst/>
              <a:uLnTx/>
              <a:uFillTx/>
              <a:latin typeface="Arial"/>
              <a:ea typeface="+mn-ea"/>
              <a:cs typeface="+mn-cs"/>
            </a:endParaRPr>
          </a:p>
        </p:txBody>
      </p:sp>
      <p:sp>
        <p:nvSpPr>
          <p:cNvPr id="18" name="Oval 22"/>
          <p:cNvSpPr/>
          <p:nvPr userDrawn="1"/>
        </p:nvSpPr>
        <p:spPr>
          <a:xfrm rot="3396601">
            <a:off x="10245788" y="1082583"/>
            <a:ext cx="1794243" cy="1150265"/>
          </a:xfrm>
          <a:custGeom>
            <a:avLst/>
            <a:gdLst>
              <a:gd name="connsiteX0" fmla="*/ 0 w 2155151"/>
              <a:gd name="connsiteY0" fmla="*/ 1077576 h 2155151"/>
              <a:gd name="connsiteX1" fmla="*/ 1077576 w 2155151"/>
              <a:gd name="connsiteY1" fmla="*/ 0 h 2155151"/>
              <a:gd name="connsiteX2" fmla="*/ 2155152 w 2155151"/>
              <a:gd name="connsiteY2" fmla="*/ 1077576 h 2155151"/>
              <a:gd name="connsiteX3" fmla="*/ 1077576 w 2155151"/>
              <a:gd name="connsiteY3" fmla="*/ 2155152 h 2155151"/>
              <a:gd name="connsiteX4" fmla="*/ 0 w 2155151"/>
              <a:gd name="connsiteY4" fmla="*/ 1077576 h 2155151"/>
              <a:gd name="connsiteX0" fmla="*/ 1077576 w 2155152"/>
              <a:gd name="connsiteY0" fmla="*/ 0 h 2155152"/>
              <a:gd name="connsiteX1" fmla="*/ 2155152 w 2155152"/>
              <a:gd name="connsiteY1" fmla="*/ 1077576 h 2155152"/>
              <a:gd name="connsiteX2" fmla="*/ 1077576 w 2155152"/>
              <a:gd name="connsiteY2" fmla="*/ 2155152 h 2155152"/>
              <a:gd name="connsiteX3" fmla="*/ 0 w 2155152"/>
              <a:gd name="connsiteY3" fmla="*/ 1077576 h 2155152"/>
              <a:gd name="connsiteX4" fmla="*/ 1169016 w 2155152"/>
              <a:gd name="connsiteY4" fmla="*/ 91440 h 2155152"/>
              <a:gd name="connsiteX0" fmla="*/ 1077576 w 2155152"/>
              <a:gd name="connsiteY0" fmla="*/ 0 h 2155152"/>
              <a:gd name="connsiteX1" fmla="*/ 2155152 w 2155152"/>
              <a:gd name="connsiteY1" fmla="*/ 1077576 h 2155152"/>
              <a:gd name="connsiteX2" fmla="*/ 1077576 w 2155152"/>
              <a:gd name="connsiteY2" fmla="*/ 2155152 h 2155152"/>
              <a:gd name="connsiteX3" fmla="*/ 0 w 2155152"/>
              <a:gd name="connsiteY3" fmla="*/ 1077576 h 2155152"/>
              <a:gd name="connsiteX0" fmla="*/ 2155152 w 2155152"/>
              <a:gd name="connsiteY0" fmla="*/ 0 h 1077576"/>
              <a:gd name="connsiteX1" fmla="*/ 1077576 w 2155152"/>
              <a:gd name="connsiteY1" fmla="*/ 1077576 h 1077576"/>
              <a:gd name="connsiteX2" fmla="*/ 0 w 2155152"/>
              <a:gd name="connsiteY2" fmla="*/ 0 h 1077576"/>
            </a:gdLst>
            <a:ahLst/>
            <a:cxnLst>
              <a:cxn ang="0">
                <a:pos x="connsiteX0" y="connsiteY0"/>
              </a:cxn>
              <a:cxn ang="0">
                <a:pos x="connsiteX1" y="connsiteY1"/>
              </a:cxn>
              <a:cxn ang="0">
                <a:pos x="connsiteX2" y="connsiteY2"/>
              </a:cxn>
            </a:cxnLst>
            <a:rect l="l" t="t" r="r" b="b"/>
            <a:pathLst>
              <a:path w="2155152" h="1077576">
                <a:moveTo>
                  <a:pt x="2155152" y="0"/>
                </a:moveTo>
                <a:cubicBezTo>
                  <a:pt x="2155152" y="595129"/>
                  <a:pt x="1672705" y="1077576"/>
                  <a:pt x="1077576" y="1077576"/>
                </a:cubicBezTo>
                <a:cubicBezTo>
                  <a:pt x="482447" y="1077576"/>
                  <a:pt x="0" y="595129"/>
                  <a:pt x="0" y="0"/>
                </a:cubicBezTo>
              </a:path>
            </a:pathLst>
          </a:custGeom>
          <a:solidFill>
            <a:sysClr val="window" lastClr="FFFFFF"/>
          </a:solidFill>
          <a:ln w="12700" cap="flat" cmpd="sng" algn="ctr">
            <a:solidFill>
              <a:srgbClr val="0098C7"/>
            </a:solidFill>
            <a:prstDash val="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998C85">
                  <a:lumMod val="50000"/>
                </a:srgbClr>
              </a:solidFill>
              <a:effectLst/>
              <a:uLnTx/>
              <a:uFillTx/>
              <a:latin typeface="Arial"/>
              <a:ea typeface="+mn-ea"/>
              <a:cs typeface="+mn-cs"/>
            </a:endParaRPr>
          </a:p>
        </p:txBody>
      </p:sp>
      <p:grpSp>
        <p:nvGrpSpPr>
          <p:cNvPr id="19" name="Group 18"/>
          <p:cNvGrpSpPr/>
          <p:nvPr userDrawn="1"/>
        </p:nvGrpSpPr>
        <p:grpSpPr>
          <a:xfrm>
            <a:off x="1613" y="661073"/>
            <a:ext cx="12190394" cy="751158"/>
            <a:chOff x="-1011" y="365941"/>
            <a:chExt cx="9912392" cy="751158"/>
          </a:xfrm>
        </p:grpSpPr>
        <p:sp>
          <p:nvSpPr>
            <p:cNvPr id="20" name="Rectangle 9"/>
            <p:cNvSpPr/>
            <p:nvPr/>
          </p:nvSpPr>
          <p:spPr>
            <a:xfrm>
              <a:off x="-1011" y="365941"/>
              <a:ext cx="9912392" cy="737260"/>
            </a:xfrm>
            <a:custGeom>
              <a:avLst/>
              <a:gdLst>
                <a:gd name="connsiteX0" fmla="*/ 0 w 9906000"/>
                <a:gd name="connsiteY0" fmla="*/ 0 h 742641"/>
                <a:gd name="connsiteX1" fmla="*/ 9906000 w 9906000"/>
                <a:gd name="connsiteY1" fmla="*/ 0 h 742641"/>
                <a:gd name="connsiteX2" fmla="*/ 9906000 w 9906000"/>
                <a:gd name="connsiteY2" fmla="*/ 742641 h 742641"/>
                <a:gd name="connsiteX3" fmla="*/ 0 w 9906000"/>
                <a:gd name="connsiteY3" fmla="*/ 742641 h 742641"/>
                <a:gd name="connsiteX4" fmla="*/ 0 w 9906000"/>
                <a:gd name="connsiteY4" fmla="*/ 0 h 742641"/>
                <a:gd name="connsiteX0" fmla="*/ 0 w 9906000"/>
                <a:gd name="connsiteY0" fmla="*/ 0 h 742641"/>
                <a:gd name="connsiteX1" fmla="*/ 9906000 w 9906000"/>
                <a:gd name="connsiteY1" fmla="*/ 0 h 742641"/>
                <a:gd name="connsiteX2" fmla="*/ 9906000 w 9906000"/>
                <a:gd name="connsiteY2" fmla="*/ 742641 h 742641"/>
                <a:gd name="connsiteX3" fmla="*/ 473572 w 9906000"/>
                <a:gd name="connsiteY3" fmla="*/ 737260 h 742641"/>
                <a:gd name="connsiteX4" fmla="*/ 0 w 9906000"/>
                <a:gd name="connsiteY4" fmla="*/ 742641 h 742641"/>
                <a:gd name="connsiteX5" fmla="*/ 0 w 9906000"/>
                <a:gd name="connsiteY5" fmla="*/ 0 h 742641"/>
                <a:gd name="connsiteX0" fmla="*/ 0 w 9906000"/>
                <a:gd name="connsiteY0" fmla="*/ 0 h 742641"/>
                <a:gd name="connsiteX1" fmla="*/ 9906000 w 9906000"/>
                <a:gd name="connsiteY1" fmla="*/ 0 h 742641"/>
                <a:gd name="connsiteX2" fmla="*/ 9906000 w 9906000"/>
                <a:gd name="connsiteY2" fmla="*/ 742641 h 742641"/>
                <a:gd name="connsiteX3" fmla="*/ 877185 w 9906000"/>
                <a:gd name="connsiteY3" fmla="*/ 737260 h 742641"/>
                <a:gd name="connsiteX4" fmla="*/ 473572 w 9906000"/>
                <a:gd name="connsiteY4" fmla="*/ 737260 h 742641"/>
                <a:gd name="connsiteX5" fmla="*/ 0 w 9906000"/>
                <a:gd name="connsiteY5" fmla="*/ 742641 h 742641"/>
                <a:gd name="connsiteX6" fmla="*/ 0 w 9906000"/>
                <a:gd name="connsiteY6" fmla="*/ 0 h 742641"/>
                <a:gd name="connsiteX0" fmla="*/ 0 w 9906000"/>
                <a:gd name="connsiteY0" fmla="*/ 0 h 742641"/>
                <a:gd name="connsiteX1" fmla="*/ 9906000 w 9906000"/>
                <a:gd name="connsiteY1" fmla="*/ 0 h 742641"/>
                <a:gd name="connsiteX2" fmla="*/ 9906000 w 9906000"/>
                <a:gd name="connsiteY2" fmla="*/ 742641 h 742641"/>
                <a:gd name="connsiteX3" fmla="*/ 9536022 w 9906000"/>
                <a:gd name="connsiteY3" fmla="*/ 742641 h 742641"/>
                <a:gd name="connsiteX4" fmla="*/ 877185 w 9906000"/>
                <a:gd name="connsiteY4" fmla="*/ 737260 h 742641"/>
                <a:gd name="connsiteX5" fmla="*/ 473572 w 9906000"/>
                <a:gd name="connsiteY5" fmla="*/ 737260 h 742641"/>
                <a:gd name="connsiteX6" fmla="*/ 0 w 9906000"/>
                <a:gd name="connsiteY6" fmla="*/ 742641 h 742641"/>
                <a:gd name="connsiteX7" fmla="*/ 0 w 9906000"/>
                <a:gd name="connsiteY7" fmla="*/ 0 h 742641"/>
                <a:gd name="connsiteX0" fmla="*/ 0 w 9906000"/>
                <a:gd name="connsiteY0" fmla="*/ 0 h 742641"/>
                <a:gd name="connsiteX1" fmla="*/ 9906000 w 9906000"/>
                <a:gd name="connsiteY1" fmla="*/ 0 h 742641"/>
                <a:gd name="connsiteX2" fmla="*/ 9906000 w 9906000"/>
                <a:gd name="connsiteY2" fmla="*/ 742641 h 742641"/>
                <a:gd name="connsiteX3" fmla="*/ 9536022 w 9906000"/>
                <a:gd name="connsiteY3" fmla="*/ 742641 h 742641"/>
                <a:gd name="connsiteX4" fmla="*/ 877185 w 9906000"/>
                <a:gd name="connsiteY4" fmla="*/ 737260 h 742641"/>
                <a:gd name="connsiteX5" fmla="*/ 473572 w 9906000"/>
                <a:gd name="connsiteY5" fmla="*/ 737260 h 742641"/>
                <a:gd name="connsiteX6" fmla="*/ 0 w 9906000"/>
                <a:gd name="connsiteY6" fmla="*/ 742641 h 742641"/>
                <a:gd name="connsiteX7" fmla="*/ 0 w 9906000"/>
                <a:gd name="connsiteY7" fmla="*/ 0 h 742641"/>
                <a:gd name="connsiteX0" fmla="*/ 0 w 9906000"/>
                <a:gd name="connsiteY0" fmla="*/ 0 h 742641"/>
                <a:gd name="connsiteX1" fmla="*/ 9906000 w 9906000"/>
                <a:gd name="connsiteY1" fmla="*/ 0 h 742641"/>
                <a:gd name="connsiteX2" fmla="*/ 9906000 w 9906000"/>
                <a:gd name="connsiteY2" fmla="*/ 742641 h 742641"/>
                <a:gd name="connsiteX3" fmla="*/ 9541403 w 9906000"/>
                <a:gd name="connsiteY3" fmla="*/ 365939 h 742641"/>
                <a:gd name="connsiteX4" fmla="*/ 877185 w 9906000"/>
                <a:gd name="connsiteY4" fmla="*/ 737260 h 742641"/>
                <a:gd name="connsiteX5" fmla="*/ 473572 w 9906000"/>
                <a:gd name="connsiteY5" fmla="*/ 737260 h 742641"/>
                <a:gd name="connsiteX6" fmla="*/ 0 w 9906000"/>
                <a:gd name="connsiteY6" fmla="*/ 742641 h 742641"/>
                <a:gd name="connsiteX7" fmla="*/ 0 w 9906000"/>
                <a:gd name="connsiteY7" fmla="*/ 0 h 742641"/>
                <a:gd name="connsiteX0" fmla="*/ 0 w 9906000"/>
                <a:gd name="connsiteY0" fmla="*/ 0 h 742641"/>
                <a:gd name="connsiteX1" fmla="*/ 9906000 w 9906000"/>
                <a:gd name="connsiteY1" fmla="*/ 0 h 742641"/>
                <a:gd name="connsiteX2" fmla="*/ 9792988 w 9906000"/>
                <a:gd name="connsiteY2" fmla="*/ 247546 h 742641"/>
                <a:gd name="connsiteX3" fmla="*/ 9541403 w 9906000"/>
                <a:gd name="connsiteY3" fmla="*/ 365939 h 742641"/>
                <a:gd name="connsiteX4" fmla="*/ 877185 w 9906000"/>
                <a:gd name="connsiteY4" fmla="*/ 737260 h 742641"/>
                <a:gd name="connsiteX5" fmla="*/ 473572 w 9906000"/>
                <a:gd name="connsiteY5" fmla="*/ 737260 h 742641"/>
                <a:gd name="connsiteX6" fmla="*/ 0 w 9906000"/>
                <a:gd name="connsiteY6" fmla="*/ 742641 h 742641"/>
                <a:gd name="connsiteX7" fmla="*/ 0 w 9906000"/>
                <a:gd name="connsiteY7" fmla="*/ 0 h 742641"/>
                <a:gd name="connsiteX0" fmla="*/ 0 w 9906000"/>
                <a:gd name="connsiteY0" fmla="*/ 0 h 742641"/>
                <a:gd name="connsiteX1" fmla="*/ 9906000 w 9906000"/>
                <a:gd name="connsiteY1" fmla="*/ 0 h 742641"/>
                <a:gd name="connsiteX2" fmla="*/ 9792988 w 9906000"/>
                <a:gd name="connsiteY2" fmla="*/ 247546 h 742641"/>
                <a:gd name="connsiteX3" fmla="*/ 9541403 w 9906000"/>
                <a:gd name="connsiteY3" fmla="*/ 365939 h 742641"/>
                <a:gd name="connsiteX4" fmla="*/ 877185 w 9906000"/>
                <a:gd name="connsiteY4" fmla="*/ 737260 h 742641"/>
                <a:gd name="connsiteX5" fmla="*/ 473572 w 9906000"/>
                <a:gd name="connsiteY5" fmla="*/ 737260 h 742641"/>
                <a:gd name="connsiteX6" fmla="*/ 0 w 9906000"/>
                <a:gd name="connsiteY6" fmla="*/ 742641 h 742641"/>
                <a:gd name="connsiteX7" fmla="*/ 0 w 9906000"/>
                <a:gd name="connsiteY7" fmla="*/ 0 h 742641"/>
                <a:gd name="connsiteX0" fmla="*/ 0 w 9906000"/>
                <a:gd name="connsiteY0" fmla="*/ 0 h 742641"/>
                <a:gd name="connsiteX1" fmla="*/ 9906000 w 9906000"/>
                <a:gd name="connsiteY1" fmla="*/ 0 h 742641"/>
                <a:gd name="connsiteX2" fmla="*/ 9792988 w 9906000"/>
                <a:gd name="connsiteY2" fmla="*/ 247546 h 742641"/>
                <a:gd name="connsiteX3" fmla="*/ 9541403 w 9906000"/>
                <a:gd name="connsiteY3" fmla="*/ 365939 h 742641"/>
                <a:gd name="connsiteX4" fmla="*/ 866422 w 9906000"/>
                <a:gd name="connsiteY4" fmla="*/ 376703 h 742641"/>
                <a:gd name="connsiteX5" fmla="*/ 473572 w 9906000"/>
                <a:gd name="connsiteY5" fmla="*/ 737260 h 742641"/>
                <a:gd name="connsiteX6" fmla="*/ 0 w 9906000"/>
                <a:gd name="connsiteY6" fmla="*/ 742641 h 742641"/>
                <a:gd name="connsiteX7" fmla="*/ 0 w 9906000"/>
                <a:gd name="connsiteY7" fmla="*/ 0 h 742641"/>
                <a:gd name="connsiteX0" fmla="*/ 0 w 9906000"/>
                <a:gd name="connsiteY0" fmla="*/ 0 h 742641"/>
                <a:gd name="connsiteX1" fmla="*/ 9906000 w 9906000"/>
                <a:gd name="connsiteY1" fmla="*/ 0 h 742641"/>
                <a:gd name="connsiteX2" fmla="*/ 9792988 w 9906000"/>
                <a:gd name="connsiteY2" fmla="*/ 247546 h 742641"/>
                <a:gd name="connsiteX3" fmla="*/ 9541403 w 9906000"/>
                <a:gd name="connsiteY3" fmla="*/ 365939 h 742641"/>
                <a:gd name="connsiteX4" fmla="*/ 866422 w 9906000"/>
                <a:gd name="connsiteY4" fmla="*/ 376703 h 742641"/>
                <a:gd name="connsiteX5" fmla="*/ 473572 w 9906000"/>
                <a:gd name="connsiteY5" fmla="*/ 737260 h 742641"/>
                <a:gd name="connsiteX6" fmla="*/ 0 w 9906000"/>
                <a:gd name="connsiteY6" fmla="*/ 742641 h 742641"/>
                <a:gd name="connsiteX7" fmla="*/ 0 w 9906000"/>
                <a:gd name="connsiteY7" fmla="*/ 0 h 742641"/>
                <a:gd name="connsiteX0" fmla="*/ 0 w 9906000"/>
                <a:gd name="connsiteY0" fmla="*/ 0 h 742641"/>
                <a:gd name="connsiteX1" fmla="*/ 9906000 w 9906000"/>
                <a:gd name="connsiteY1" fmla="*/ 0 h 742641"/>
                <a:gd name="connsiteX2" fmla="*/ 9792988 w 9906000"/>
                <a:gd name="connsiteY2" fmla="*/ 247546 h 742641"/>
                <a:gd name="connsiteX3" fmla="*/ 9541403 w 9906000"/>
                <a:gd name="connsiteY3" fmla="*/ 365939 h 742641"/>
                <a:gd name="connsiteX4" fmla="*/ 866422 w 9906000"/>
                <a:gd name="connsiteY4" fmla="*/ 376703 h 742641"/>
                <a:gd name="connsiteX5" fmla="*/ 473572 w 9906000"/>
                <a:gd name="connsiteY5" fmla="*/ 737260 h 742641"/>
                <a:gd name="connsiteX6" fmla="*/ 0 w 9906000"/>
                <a:gd name="connsiteY6" fmla="*/ 742641 h 742641"/>
                <a:gd name="connsiteX7" fmla="*/ 0 w 9906000"/>
                <a:gd name="connsiteY7" fmla="*/ 0 h 742641"/>
                <a:gd name="connsiteX0" fmla="*/ 0 w 9906000"/>
                <a:gd name="connsiteY0" fmla="*/ 0 h 742641"/>
                <a:gd name="connsiteX1" fmla="*/ 9906000 w 9906000"/>
                <a:gd name="connsiteY1" fmla="*/ 0 h 742641"/>
                <a:gd name="connsiteX2" fmla="*/ 9792988 w 9906000"/>
                <a:gd name="connsiteY2" fmla="*/ 247546 h 742641"/>
                <a:gd name="connsiteX3" fmla="*/ 9541403 w 9906000"/>
                <a:gd name="connsiteY3" fmla="*/ 365939 h 742641"/>
                <a:gd name="connsiteX4" fmla="*/ 866422 w 9906000"/>
                <a:gd name="connsiteY4" fmla="*/ 376703 h 742641"/>
                <a:gd name="connsiteX5" fmla="*/ 473572 w 9906000"/>
                <a:gd name="connsiteY5" fmla="*/ 737260 h 742641"/>
                <a:gd name="connsiteX6" fmla="*/ 0 w 9906000"/>
                <a:gd name="connsiteY6" fmla="*/ 742641 h 742641"/>
                <a:gd name="connsiteX7" fmla="*/ 0 w 9906000"/>
                <a:gd name="connsiteY7" fmla="*/ 0 h 742641"/>
                <a:gd name="connsiteX0" fmla="*/ 10763 w 9916763"/>
                <a:gd name="connsiteY0" fmla="*/ 0 h 737260"/>
                <a:gd name="connsiteX1" fmla="*/ 9916763 w 9916763"/>
                <a:gd name="connsiteY1" fmla="*/ 0 h 737260"/>
                <a:gd name="connsiteX2" fmla="*/ 9803751 w 9916763"/>
                <a:gd name="connsiteY2" fmla="*/ 247546 h 737260"/>
                <a:gd name="connsiteX3" fmla="*/ 9552166 w 9916763"/>
                <a:gd name="connsiteY3" fmla="*/ 365939 h 737260"/>
                <a:gd name="connsiteX4" fmla="*/ 877185 w 9916763"/>
                <a:gd name="connsiteY4" fmla="*/ 376703 h 737260"/>
                <a:gd name="connsiteX5" fmla="*/ 484335 w 9916763"/>
                <a:gd name="connsiteY5" fmla="*/ 737260 h 737260"/>
                <a:gd name="connsiteX6" fmla="*/ 0 w 9916763"/>
                <a:gd name="connsiteY6" fmla="*/ 387464 h 737260"/>
                <a:gd name="connsiteX7" fmla="*/ 10763 w 9916763"/>
                <a:gd name="connsiteY7" fmla="*/ 0 h 737260"/>
                <a:gd name="connsiteX0" fmla="*/ 1238 w 9907238"/>
                <a:gd name="connsiteY0" fmla="*/ 0 h 737260"/>
                <a:gd name="connsiteX1" fmla="*/ 9907238 w 9907238"/>
                <a:gd name="connsiteY1" fmla="*/ 0 h 737260"/>
                <a:gd name="connsiteX2" fmla="*/ 9794226 w 9907238"/>
                <a:gd name="connsiteY2" fmla="*/ 247546 h 737260"/>
                <a:gd name="connsiteX3" fmla="*/ 9542641 w 9907238"/>
                <a:gd name="connsiteY3" fmla="*/ 365939 h 737260"/>
                <a:gd name="connsiteX4" fmla="*/ 867660 w 9907238"/>
                <a:gd name="connsiteY4" fmla="*/ 376703 h 737260"/>
                <a:gd name="connsiteX5" fmla="*/ 474810 w 9907238"/>
                <a:gd name="connsiteY5" fmla="*/ 737260 h 737260"/>
                <a:gd name="connsiteX6" fmla="*/ 0 w 9907238"/>
                <a:gd name="connsiteY6" fmla="*/ 387464 h 737260"/>
                <a:gd name="connsiteX7" fmla="*/ 1238 w 9907238"/>
                <a:gd name="connsiteY7" fmla="*/ 0 h 737260"/>
                <a:gd name="connsiteX0" fmla="*/ 20 w 9912370"/>
                <a:gd name="connsiteY0" fmla="*/ 28575 h 737260"/>
                <a:gd name="connsiteX1" fmla="*/ 9912370 w 9912370"/>
                <a:gd name="connsiteY1" fmla="*/ 0 h 737260"/>
                <a:gd name="connsiteX2" fmla="*/ 9799358 w 9912370"/>
                <a:gd name="connsiteY2" fmla="*/ 247546 h 737260"/>
                <a:gd name="connsiteX3" fmla="*/ 9547773 w 9912370"/>
                <a:gd name="connsiteY3" fmla="*/ 365939 h 737260"/>
                <a:gd name="connsiteX4" fmla="*/ 872792 w 9912370"/>
                <a:gd name="connsiteY4" fmla="*/ 376703 h 737260"/>
                <a:gd name="connsiteX5" fmla="*/ 479942 w 9912370"/>
                <a:gd name="connsiteY5" fmla="*/ 737260 h 737260"/>
                <a:gd name="connsiteX6" fmla="*/ 5132 w 9912370"/>
                <a:gd name="connsiteY6" fmla="*/ 387464 h 737260"/>
                <a:gd name="connsiteX7" fmla="*/ 20 w 9912370"/>
                <a:gd name="connsiteY7" fmla="*/ 28575 h 737260"/>
                <a:gd name="connsiteX0" fmla="*/ 4413 w 9916763"/>
                <a:gd name="connsiteY0" fmla="*/ 28575 h 737260"/>
                <a:gd name="connsiteX1" fmla="*/ 9916763 w 9916763"/>
                <a:gd name="connsiteY1" fmla="*/ 0 h 737260"/>
                <a:gd name="connsiteX2" fmla="*/ 9803751 w 9916763"/>
                <a:gd name="connsiteY2" fmla="*/ 247546 h 737260"/>
                <a:gd name="connsiteX3" fmla="*/ 9552166 w 9916763"/>
                <a:gd name="connsiteY3" fmla="*/ 365939 h 737260"/>
                <a:gd name="connsiteX4" fmla="*/ 877185 w 9916763"/>
                <a:gd name="connsiteY4" fmla="*/ 376703 h 737260"/>
                <a:gd name="connsiteX5" fmla="*/ 484335 w 9916763"/>
                <a:gd name="connsiteY5" fmla="*/ 737260 h 737260"/>
                <a:gd name="connsiteX6" fmla="*/ 0 w 9916763"/>
                <a:gd name="connsiteY6" fmla="*/ 387464 h 737260"/>
                <a:gd name="connsiteX7" fmla="*/ 4413 w 9916763"/>
                <a:gd name="connsiteY7" fmla="*/ 28575 h 737260"/>
                <a:gd name="connsiteX0" fmla="*/ 21 w 9912371"/>
                <a:gd name="connsiteY0" fmla="*/ 28575 h 737260"/>
                <a:gd name="connsiteX1" fmla="*/ 9912371 w 9912371"/>
                <a:gd name="connsiteY1" fmla="*/ 0 h 737260"/>
                <a:gd name="connsiteX2" fmla="*/ 9799359 w 9912371"/>
                <a:gd name="connsiteY2" fmla="*/ 247546 h 737260"/>
                <a:gd name="connsiteX3" fmla="*/ 9547774 w 9912371"/>
                <a:gd name="connsiteY3" fmla="*/ 365939 h 737260"/>
                <a:gd name="connsiteX4" fmla="*/ 872793 w 9912371"/>
                <a:gd name="connsiteY4" fmla="*/ 376703 h 737260"/>
                <a:gd name="connsiteX5" fmla="*/ 479943 w 9912371"/>
                <a:gd name="connsiteY5" fmla="*/ 737260 h 737260"/>
                <a:gd name="connsiteX6" fmla="*/ 5133 w 9912371"/>
                <a:gd name="connsiteY6" fmla="*/ 387464 h 737260"/>
                <a:gd name="connsiteX7" fmla="*/ 21 w 9912371"/>
                <a:gd name="connsiteY7" fmla="*/ 28575 h 737260"/>
                <a:gd name="connsiteX0" fmla="*/ 42 w 9912392"/>
                <a:gd name="connsiteY0" fmla="*/ 28575 h 737260"/>
                <a:gd name="connsiteX1" fmla="*/ 9912392 w 9912392"/>
                <a:gd name="connsiteY1" fmla="*/ 0 h 737260"/>
                <a:gd name="connsiteX2" fmla="*/ 9799380 w 9912392"/>
                <a:gd name="connsiteY2" fmla="*/ 247546 h 737260"/>
                <a:gd name="connsiteX3" fmla="*/ 9547795 w 9912392"/>
                <a:gd name="connsiteY3" fmla="*/ 365939 h 737260"/>
                <a:gd name="connsiteX4" fmla="*/ 872814 w 9912392"/>
                <a:gd name="connsiteY4" fmla="*/ 376703 h 737260"/>
                <a:gd name="connsiteX5" fmla="*/ 479964 w 9912392"/>
                <a:gd name="connsiteY5" fmla="*/ 737260 h 737260"/>
                <a:gd name="connsiteX6" fmla="*/ 1979 w 9912392"/>
                <a:gd name="connsiteY6" fmla="*/ 384289 h 737260"/>
                <a:gd name="connsiteX7" fmla="*/ 42 w 9912392"/>
                <a:gd name="connsiteY7" fmla="*/ 28575 h 737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912392" h="737260">
                  <a:moveTo>
                    <a:pt x="42" y="28575"/>
                  </a:moveTo>
                  <a:lnTo>
                    <a:pt x="9912392" y="0"/>
                  </a:lnTo>
                  <a:cubicBezTo>
                    <a:pt x="9874721" y="82515"/>
                    <a:pt x="9912392" y="73546"/>
                    <a:pt x="9799380" y="247546"/>
                  </a:cubicBezTo>
                  <a:lnTo>
                    <a:pt x="9547795" y="365939"/>
                  </a:lnTo>
                  <a:lnTo>
                    <a:pt x="872814" y="376703"/>
                  </a:lnTo>
                  <a:cubicBezTo>
                    <a:pt x="494315" y="475363"/>
                    <a:pt x="514047" y="670889"/>
                    <a:pt x="479964" y="737260"/>
                  </a:cubicBezTo>
                  <a:cubicBezTo>
                    <a:pt x="392067" y="405403"/>
                    <a:pt x="159836" y="382495"/>
                    <a:pt x="1979" y="384289"/>
                  </a:cubicBezTo>
                  <a:cubicBezTo>
                    <a:pt x="2392" y="255134"/>
                    <a:pt x="-371" y="157730"/>
                    <a:pt x="42" y="28575"/>
                  </a:cubicBez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998C85">
                    <a:lumMod val="50000"/>
                  </a:srgbClr>
                </a:solidFill>
                <a:effectLst/>
                <a:uLnTx/>
                <a:uFillTx/>
                <a:latin typeface="Candara" pitchFamily="34" charset="0"/>
                <a:ea typeface="+mn-ea"/>
                <a:cs typeface="+mn-cs"/>
              </a:endParaRPr>
            </a:p>
          </p:txBody>
        </p:sp>
        <p:sp>
          <p:nvSpPr>
            <p:cNvPr id="21" name="Freeform 4"/>
            <p:cNvSpPr>
              <a:spLocks/>
            </p:cNvSpPr>
            <p:nvPr>
              <p:custDataLst>
                <p:tags r:id="rId3"/>
              </p:custDataLst>
            </p:nvPr>
          </p:nvSpPr>
          <p:spPr bwMode="auto">
            <a:xfrm>
              <a:off x="0" y="388977"/>
              <a:ext cx="9906003"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8C7"/>
            </a:solidFill>
            <a:ln w="9525">
              <a:noFill/>
              <a:round/>
              <a:headEnd/>
              <a:tailEnd/>
            </a:ln>
            <a:effectLst/>
          </p:spPr>
          <p:txBody>
            <a:bodyPr vert="horz" wrap="square" lIns="95025" tIns="47513" rIns="95025" bIns="475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263147"/>
                </a:solidFill>
                <a:effectLst/>
                <a:uLnTx/>
                <a:uFillTx/>
                <a:latin typeface="Candara" pitchFamily="34" charset="0"/>
              </a:endParaRPr>
            </a:p>
          </p:txBody>
        </p:sp>
      </p:grpSp>
      <p:grpSp>
        <p:nvGrpSpPr>
          <p:cNvPr id="9" name="Groupe 566"/>
          <p:cNvGrpSpPr>
            <a:grpSpLocks/>
          </p:cNvGrpSpPr>
          <p:nvPr userDrawn="1"/>
        </p:nvGrpSpPr>
        <p:grpSpPr bwMode="auto">
          <a:xfrm>
            <a:off x="10977071" y="1371775"/>
            <a:ext cx="879705" cy="514350"/>
            <a:chOff x="2613026" y="2713038"/>
            <a:chExt cx="414338" cy="287338"/>
          </a:xfrm>
        </p:grpSpPr>
        <p:sp>
          <p:nvSpPr>
            <p:cNvPr id="10" name="Freeform 43"/>
            <p:cNvSpPr>
              <a:spLocks/>
            </p:cNvSpPr>
            <p:nvPr/>
          </p:nvSpPr>
          <p:spPr bwMode="auto">
            <a:xfrm>
              <a:off x="2613026" y="2817813"/>
              <a:ext cx="414338" cy="182563"/>
            </a:xfrm>
            <a:custGeom>
              <a:avLst/>
              <a:gdLst>
                <a:gd name="T0" fmla="*/ 2147483647 w 261"/>
                <a:gd name="T1" fmla="*/ 0 h 115"/>
                <a:gd name="T2" fmla="*/ 2147483647 w 261"/>
                <a:gd name="T3" fmla="*/ 0 h 115"/>
                <a:gd name="T4" fmla="*/ 2147483647 w 261"/>
                <a:gd name="T5" fmla="*/ 2147483647 h 115"/>
                <a:gd name="T6" fmla="*/ 0 w 261"/>
                <a:gd name="T7" fmla="*/ 2147483647 h 115"/>
                <a:gd name="T8" fmla="*/ 2147483647 w 261"/>
                <a:gd name="T9" fmla="*/ 2147483647 h 115"/>
                <a:gd name="T10" fmla="*/ 0 60000 65536"/>
                <a:gd name="T11" fmla="*/ 0 60000 65536"/>
                <a:gd name="T12" fmla="*/ 0 60000 65536"/>
                <a:gd name="T13" fmla="*/ 0 60000 65536"/>
                <a:gd name="T14" fmla="*/ 0 60000 65536"/>
                <a:gd name="T15" fmla="*/ 0 w 261"/>
                <a:gd name="T16" fmla="*/ 0 h 115"/>
                <a:gd name="T17" fmla="*/ 261 w 261"/>
                <a:gd name="T18" fmla="*/ 115 h 115"/>
              </a:gdLst>
              <a:ahLst/>
              <a:cxnLst>
                <a:cxn ang="T10">
                  <a:pos x="T0" y="T1"/>
                </a:cxn>
                <a:cxn ang="T11">
                  <a:pos x="T2" y="T3"/>
                </a:cxn>
                <a:cxn ang="T12">
                  <a:pos x="T4" y="T5"/>
                </a:cxn>
                <a:cxn ang="T13">
                  <a:pos x="T6" y="T7"/>
                </a:cxn>
                <a:cxn ang="T14">
                  <a:pos x="T8" y="T9"/>
                </a:cxn>
              </a:cxnLst>
              <a:rect l="T15" t="T16" r="T17" b="T18"/>
              <a:pathLst>
                <a:path w="261" h="115">
                  <a:moveTo>
                    <a:pt x="241" y="0"/>
                  </a:moveTo>
                  <a:lnTo>
                    <a:pt x="261" y="0"/>
                  </a:lnTo>
                  <a:lnTo>
                    <a:pt x="149" y="115"/>
                  </a:lnTo>
                  <a:lnTo>
                    <a:pt x="0" y="115"/>
                  </a:lnTo>
                  <a:lnTo>
                    <a:pt x="19" y="92"/>
                  </a:lnTo>
                </a:path>
              </a:pathLst>
            </a:custGeom>
            <a:noFill/>
            <a:ln w="19050" cap="rnd">
              <a:solidFill>
                <a:srgbClr val="C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800"/>
            </a:p>
          </p:txBody>
        </p:sp>
        <p:sp>
          <p:nvSpPr>
            <p:cNvPr id="11" name="Freeform 44"/>
            <p:cNvSpPr>
              <a:spLocks/>
            </p:cNvSpPr>
            <p:nvPr/>
          </p:nvSpPr>
          <p:spPr bwMode="auto">
            <a:xfrm>
              <a:off x="2613026" y="2784475"/>
              <a:ext cx="414338" cy="180975"/>
            </a:xfrm>
            <a:custGeom>
              <a:avLst/>
              <a:gdLst>
                <a:gd name="T0" fmla="*/ 2147483647 w 261"/>
                <a:gd name="T1" fmla="*/ 0 h 114"/>
                <a:gd name="T2" fmla="*/ 2147483647 w 261"/>
                <a:gd name="T3" fmla="*/ 0 h 114"/>
                <a:gd name="T4" fmla="*/ 2147483647 w 261"/>
                <a:gd name="T5" fmla="*/ 2147483647 h 114"/>
                <a:gd name="T6" fmla="*/ 0 w 261"/>
                <a:gd name="T7" fmla="*/ 2147483647 h 114"/>
                <a:gd name="T8" fmla="*/ 2147483647 w 261"/>
                <a:gd name="T9" fmla="*/ 2147483647 h 114"/>
                <a:gd name="T10" fmla="*/ 0 60000 65536"/>
                <a:gd name="T11" fmla="*/ 0 60000 65536"/>
                <a:gd name="T12" fmla="*/ 0 60000 65536"/>
                <a:gd name="T13" fmla="*/ 0 60000 65536"/>
                <a:gd name="T14" fmla="*/ 0 60000 65536"/>
                <a:gd name="T15" fmla="*/ 0 w 261"/>
                <a:gd name="T16" fmla="*/ 0 h 114"/>
                <a:gd name="T17" fmla="*/ 261 w 261"/>
                <a:gd name="T18" fmla="*/ 114 h 114"/>
              </a:gdLst>
              <a:ahLst/>
              <a:cxnLst>
                <a:cxn ang="T10">
                  <a:pos x="T0" y="T1"/>
                </a:cxn>
                <a:cxn ang="T11">
                  <a:pos x="T2" y="T3"/>
                </a:cxn>
                <a:cxn ang="T12">
                  <a:pos x="T4" y="T5"/>
                </a:cxn>
                <a:cxn ang="T13">
                  <a:pos x="T6" y="T7"/>
                </a:cxn>
                <a:cxn ang="T14">
                  <a:pos x="T8" y="T9"/>
                </a:cxn>
              </a:cxnLst>
              <a:rect l="T15" t="T16" r="T17" b="T18"/>
              <a:pathLst>
                <a:path w="261" h="114">
                  <a:moveTo>
                    <a:pt x="241" y="0"/>
                  </a:moveTo>
                  <a:lnTo>
                    <a:pt x="261" y="0"/>
                  </a:lnTo>
                  <a:lnTo>
                    <a:pt x="149" y="114"/>
                  </a:lnTo>
                  <a:lnTo>
                    <a:pt x="0" y="114"/>
                  </a:lnTo>
                  <a:lnTo>
                    <a:pt x="19" y="92"/>
                  </a:lnTo>
                </a:path>
              </a:pathLst>
            </a:custGeom>
            <a:noFill/>
            <a:ln w="19050" cap="rnd">
              <a:solidFill>
                <a:srgbClr val="C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800"/>
            </a:p>
          </p:txBody>
        </p:sp>
        <p:sp>
          <p:nvSpPr>
            <p:cNvPr id="12" name="Freeform 45"/>
            <p:cNvSpPr>
              <a:spLocks/>
            </p:cNvSpPr>
            <p:nvPr/>
          </p:nvSpPr>
          <p:spPr bwMode="auto">
            <a:xfrm>
              <a:off x="2613026" y="2746375"/>
              <a:ext cx="414338" cy="184150"/>
            </a:xfrm>
            <a:custGeom>
              <a:avLst/>
              <a:gdLst>
                <a:gd name="T0" fmla="*/ 2147483647 w 261"/>
                <a:gd name="T1" fmla="*/ 0 h 116"/>
                <a:gd name="T2" fmla="*/ 2147483647 w 261"/>
                <a:gd name="T3" fmla="*/ 0 h 116"/>
                <a:gd name="T4" fmla="*/ 2147483647 w 261"/>
                <a:gd name="T5" fmla="*/ 2147483647 h 116"/>
                <a:gd name="T6" fmla="*/ 0 w 261"/>
                <a:gd name="T7" fmla="*/ 2147483647 h 116"/>
                <a:gd name="T8" fmla="*/ 2147483647 w 261"/>
                <a:gd name="T9" fmla="*/ 2147483647 h 116"/>
                <a:gd name="T10" fmla="*/ 0 60000 65536"/>
                <a:gd name="T11" fmla="*/ 0 60000 65536"/>
                <a:gd name="T12" fmla="*/ 0 60000 65536"/>
                <a:gd name="T13" fmla="*/ 0 60000 65536"/>
                <a:gd name="T14" fmla="*/ 0 60000 65536"/>
                <a:gd name="T15" fmla="*/ 0 w 261"/>
                <a:gd name="T16" fmla="*/ 0 h 116"/>
                <a:gd name="T17" fmla="*/ 261 w 261"/>
                <a:gd name="T18" fmla="*/ 116 h 116"/>
              </a:gdLst>
              <a:ahLst/>
              <a:cxnLst>
                <a:cxn ang="T10">
                  <a:pos x="T0" y="T1"/>
                </a:cxn>
                <a:cxn ang="T11">
                  <a:pos x="T2" y="T3"/>
                </a:cxn>
                <a:cxn ang="T12">
                  <a:pos x="T4" y="T5"/>
                </a:cxn>
                <a:cxn ang="T13">
                  <a:pos x="T6" y="T7"/>
                </a:cxn>
                <a:cxn ang="T14">
                  <a:pos x="T8" y="T9"/>
                </a:cxn>
              </a:cxnLst>
              <a:rect l="T15" t="T16" r="T17" b="T18"/>
              <a:pathLst>
                <a:path w="261" h="116">
                  <a:moveTo>
                    <a:pt x="241" y="0"/>
                  </a:moveTo>
                  <a:lnTo>
                    <a:pt x="261" y="0"/>
                  </a:lnTo>
                  <a:lnTo>
                    <a:pt x="149" y="116"/>
                  </a:lnTo>
                  <a:lnTo>
                    <a:pt x="0" y="116"/>
                  </a:lnTo>
                  <a:lnTo>
                    <a:pt x="19" y="94"/>
                  </a:lnTo>
                </a:path>
              </a:pathLst>
            </a:custGeom>
            <a:noFill/>
            <a:ln w="19050" cap="rnd">
              <a:solidFill>
                <a:srgbClr val="C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800"/>
            </a:p>
          </p:txBody>
        </p:sp>
        <p:sp>
          <p:nvSpPr>
            <p:cNvPr id="13" name="Freeform 46"/>
            <p:cNvSpPr>
              <a:spLocks/>
            </p:cNvSpPr>
            <p:nvPr/>
          </p:nvSpPr>
          <p:spPr bwMode="auto">
            <a:xfrm>
              <a:off x="2613026" y="2713038"/>
              <a:ext cx="414338" cy="180975"/>
            </a:xfrm>
            <a:custGeom>
              <a:avLst/>
              <a:gdLst>
                <a:gd name="T0" fmla="*/ 2147483647 w 214"/>
                <a:gd name="T1" fmla="*/ 0 h 93"/>
                <a:gd name="T2" fmla="*/ 2147483647 w 214"/>
                <a:gd name="T3" fmla="*/ 2147483647 h 93"/>
                <a:gd name="T4" fmla="*/ 2147483647 w 214"/>
                <a:gd name="T5" fmla="*/ 2147483647 h 93"/>
                <a:gd name="T6" fmla="*/ 2147483647 w 214"/>
                <a:gd name="T7" fmla="*/ 2147483647 h 93"/>
                <a:gd name="T8" fmla="*/ 0 w 214"/>
                <a:gd name="T9" fmla="*/ 2147483647 h 93"/>
                <a:gd name="T10" fmla="*/ 2147483647 w 214"/>
                <a:gd name="T11" fmla="*/ 0 h 93"/>
                <a:gd name="T12" fmla="*/ 2147483647 w 214"/>
                <a:gd name="T13" fmla="*/ 0 h 93"/>
                <a:gd name="T14" fmla="*/ 0 60000 65536"/>
                <a:gd name="T15" fmla="*/ 0 60000 65536"/>
                <a:gd name="T16" fmla="*/ 0 60000 65536"/>
                <a:gd name="T17" fmla="*/ 0 60000 65536"/>
                <a:gd name="T18" fmla="*/ 0 60000 65536"/>
                <a:gd name="T19" fmla="*/ 0 60000 65536"/>
                <a:gd name="T20" fmla="*/ 0 60000 65536"/>
                <a:gd name="T21" fmla="*/ 0 w 214"/>
                <a:gd name="T22" fmla="*/ 0 h 93"/>
                <a:gd name="T23" fmla="*/ 214 w 214"/>
                <a:gd name="T24" fmla="*/ 93 h 9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4" h="93">
                  <a:moveTo>
                    <a:pt x="214" y="0"/>
                  </a:moveTo>
                  <a:cubicBezTo>
                    <a:pt x="160" y="55"/>
                    <a:pt x="160" y="55"/>
                    <a:pt x="160" y="55"/>
                  </a:cubicBezTo>
                  <a:cubicBezTo>
                    <a:pt x="147" y="68"/>
                    <a:pt x="136" y="68"/>
                    <a:pt x="122" y="62"/>
                  </a:cubicBezTo>
                  <a:cubicBezTo>
                    <a:pt x="119" y="76"/>
                    <a:pt x="107" y="93"/>
                    <a:pt x="91" y="93"/>
                  </a:cubicBezTo>
                  <a:cubicBezTo>
                    <a:pt x="0" y="93"/>
                    <a:pt x="0" y="93"/>
                    <a:pt x="0" y="93"/>
                  </a:cubicBezTo>
                  <a:cubicBezTo>
                    <a:pt x="91" y="0"/>
                    <a:pt x="91" y="0"/>
                    <a:pt x="91" y="0"/>
                  </a:cubicBezTo>
                  <a:cubicBezTo>
                    <a:pt x="198" y="0"/>
                    <a:pt x="198" y="0"/>
                    <a:pt x="198" y="0"/>
                  </a:cubicBezTo>
                </a:path>
              </a:pathLst>
            </a:custGeom>
            <a:noFill/>
            <a:ln w="19050" cap="rnd">
              <a:solidFill>
                <a:srgbClr val="C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800"/>
            </a:p>
          </p:txBody>
        </p:sp>
      </p:grpSp>
    </p:spTree>
    <p:extLst>
      <p:ext uri="{BB962C8B-B14F-4D97-AF65-F5344CB8AC3E}">
        <p14:creationId xmlns:p14="http://schemas.microsoft.com/office/powerpoint/2010/main" val="81923308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3_Blank-White">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55318357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break 3">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FCE9F63-1B96-4CB1-824D-7A7550F7909F}"/>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4889" b="445"/>
          <a:stretch/>
        </p:blipFill>
        <p:spPr>
          <a:xfrm>
            <a:off x="3698" y="-1"/>
            <a:ext cx="12188301" cy="6494211"/>
          </a:xfrm>
          <a:prstGeom prst="rect">
            <a:avLst/>
          </a:prstGeom>
        </p:spPr>
      </p:pic>
      <p:graphicFrame>
        <p:nvGraphicFramePr>
          <p:cNvPr id="10" name="Object 9"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366" name="Freeform 6"/>
          <p:cNvSpPr>
            <a:spLocks/>
          </p:cNvSpPr>
          <p:nvPr userDrawn="1"/>
        </p:nvSpPr>
        <p:spPr bwMode="auto">
          <a:xfrm>
            <a:off x="0" y="0"/>
            <a:ext cx="7651750" cy="6501384"/>
          </a:xfrm>
          <a:custGeom>
            <a:avLst/>
            <a:gdLst/>
            <a:ahLst/>
            <a:cxnLst>
              <a:cxn ang="0">
                <a:pos x="0" y="4320"/>
              </a:cxn>
              <a:cxn ang="0">
                <a:pos x="0" y="18"/>
              </a:cxn>
              <a:cxn ang="0">
                <a:pos x="2" y="4"/>
              </a:cxn>
              <a:cxn ang="0">
                <a:pos x="18" y="0"/>
              </a:cxn>
              <a:cxn ang="0">
                <a:pos x="4802" y="0"/>
              </a:cxn>
              <a:cxn ang="0">
                <a:pos x="4812" y="0"/>
              </a:cxn>
              <a:cxn ang="0">
                <a:pos x="4820" y="8"/>
              </a:cxn>
              <a:cxn ang="0">
                <a:pos x="4820" y="18"/>
              </a:cxn>
              <a:cxn ang="0">
                <a:pos x="4820" y="50"/>
              </a:cxn>
              <a:cxn ang="0">
                <a:pos x="4816" y="52"/>
              </a:cxn>
              <a:cxn ang="0">
                <a:pos x="4816" y="64"/>
              </a:cxn>
              <a:cxn ang="0">
                <a:pos x="4808" y="138"/>
              </a:cxn>
              <a:cxn ang="0">
                <a:pos x="4800" y="200"/>
              </a:cxn>
              <a:cxn ang="0">
                <a:pos x="4776" y="318"/>
              </a:cxn>
              <a:cxn ang="0">
                <a:pos x="4744" y="434"/>
              </a:cxn>
              <a:cxn ang="0">
                <a:pos x="4704" y="544"/>
              </a:cxn>
              <a:cxn ang="0">
                <a:pos x="4654" y="652"/>
              </a:cxn>
              <a:cxn ang="0">
                <a:pos x="4594" y="754"/>
              </a:cxn>
              <a:cxn ang="0">
                <a:pos x="4528" y="852"/>
              </a:cxn>
              <a:cxn ang="0">
                <a:pos x="4452" y="948"/>
              </a:cxn>
              <a:cxn ang="0">
                <a:pos x="4410" y="994"/>
              </a:cxn>
              <a:cxn ang="0">
                <a:pos x="4342" y="1064"/>
              </a:cxn>
              <a:cxn ang="0">
                <a:pos x="4270" y="1130"/>
              </a:cxn>
              <a:cxn ang="0">
                <a:pos x="4118" y="1252"/>
              </a:cxn>
              <a:cxn ang="0">
                <a:pos x="3956" y="1360"/>
              </a:cxn>
              <a:cxn ang="0">
                <a:pos x="3786" y="1458"/>
              </a:cxn>
              <a:cxn ang="0">
                <a:pos x="3724" y="1488"/>
              </a:cxn>
              <a:cxn ang="0">
                <a:pos x="3542" y="1574"/>
              </a:cxn>
              <a:cxn ang="0">
                <a:pos x="3294" y="1678"/>
              </a:cxn>
              <a:cxn ang="0">
                <a:pos x="3028" y="1790"/>
              </a:cxn>
              <a:cxn ang="0">
                <a:pos x="2498" y="2020"/>
              </a:cxn>
              <a:cxn ang="0">
                <a:pos x="2238" y="2142"/>
              </a:cxn>
              <a:cxn ang="0">
                <a:pos x="2054" y="2232"/>
              </a:cxn>
              <a:cxn ang="0">
                <a:pos x="1872" y="2326"/>
              </a:cxn>
              <a:cxn ang="0">
                <a:pos x="1696" y="2428"/>
              </a:cxn>
              <a:cxn ang="0">
                <a:pos x="1522" y="2538"/>
              </a:cxn>
              <a:cxn ang="0">
                <a:pos x="1464" y="2578"/>
              </a:cxn>
              <a:cxn ang="0">
                <a:pos x="1350" y="2664"/>
              </a:cxn>
              <a:cxn ang="0">
                <a:pos x="1242" y="2758"/>
              </a:cxn>
              <a:cxn ang="0">
                <a:pos x="1142" y="2860"/>
              </a:cxn>
              <a:cxn ang="0">
                <a:pos x="1096" y="2916"/>
              </a:cxn>
              <a:cxn ang="0">
                <a:pos x="1030" y="3008"/>
              </a:cxn>
              <a:cxn ang="0">
                <a:pos x="976" y="3102"/>
              </a:cxn>
              <a:cxn ang="0">
                <a:pos x="934" y="3200"/>
              </a:cxn>
              <a:cxn ang="0">
                <a:pos x="904" y="3302"/>
              </a:cxn>
              <a:cxn ang="0">
                <a:pos x="884" y="3404"/>
              </a:cxn>
              <a:cxn ang="0">
                <a:pos x="878" y="3512"/>
              </a:cxn>
              <a:cxn ang="0">
                <a:pos x="884" y="3620"/>
              </a:cxn>
              <a:cxn ang="0">
                <a:pos x="900" y="3732"/>
              </a:cxn>
              <a:cxn ang="0">
                <a:pos x="914" y="3788"/>
              </a:cxn>
              <a:cxn ang="0">
                <a:pos x="944" y="3898"/>
              </a:cxn>
              <a:cxn ang="0">
                <a:pos x="982" y="4004"/>
              </a:cxn>
              <a:cxn ang="0">
                <a:pos x="1028" y="4108"/>
              </a:cxn>
              <a:cxn ang="0">
                <a:pos x="1052" y="4160"/>
              </a:cxn>
              <a:cxn ang="0">
                <a:pos x="1126" y="4302"/>
              </a:cxn>
              <a:cxn ang="0">
                <a:pos x="1130" y="4312"/>
              </a:cxn>
              <a:cxn ang="0">
                <a:pos x="1130" y="4318"/>
              </a:cxn>
              <a:cxn ang="0">
                <a:pos x="1116" y="4320"/>
              </a:cxn>
              <a:cxn ang="0">
                <a:pos x="1100" y="4320"/>
              </a:cxn>
              <a:cxn ang="0">
                <a:pos x="0" y="4320"/>
              </a:cxn>
            </a:cxnLst>
            <a:rect l="0" t="0" r="r" b="b"/>
            <a:pathLst>
              <a:path w="4820" h="4320">
                <a:moveTo>
                  <a:pt x="0" y="4320"/>
                </a:moveTo>
                <a:lnTo>
                  <a:pt x="0" y="4320"/>
                </a:lnTo>
                <a:lnTo>
                  <a:pt x="0" y="18"/>
                </a:lnTo>
                <a:lnTo>
                  <a:pt x="0" y="18"/>
                </a:lnTo>
                <a:lnTo>
                  <a:pt x="0" y="8"/>
                </a:lnTo>
                <a:lnTo>
                  <a:pt x="2" y="4"/>
                </a:lnTo>
                <a:lnTo>
                  <a:pt x="8" y="0"/>
                </a:lnTo>
                <a:lnTo>
                  <a:pt x="18" y="0"/>
                </a:lnTo>
                <a:lnTo>
                  <a:pt x="18" y="0"/>
                </a:lnTo>
                <a:lnTo>
                  <a:pt x="4802" y="0"/>
                </a:lnTo>
                <a:lnTo>
                  <a:pt x="4802" y="0"/>
                </a:lnTo>
                <a:lnTo>
                  <a:pt x="4812" y="0"/>
                </a:lnTo>
                <a:lnTo>
                  <a:pt x="4818" y="4"/>
                </a:lnTo>
                <a:lnTo>
                  <a:pt x="4820" y="8"/>
                </a:lnTo>
                <a:lnTo>
                  <a:pt x="4820" y="18"/>
                </a:lnTo>
                <a:lnTo>
                  <a:pt x="4820" y="18"/>
                </a:lnTo>
                <a:lnTo>
                  <a:pt x="4820" y="34"/>
                </a:lnTo>
                <a:lnTo>
                  <a:pt x="4820" y="50"/>
                </a:lnTo>
                <a:lnTo>
                  <a:pt x="4820" y="50"/>
                </a:lnTo>
                <a:lnTo>
                  <a:pt x="4816" y="52"/>
                </a:lnTo>
                <a:lnTo>
                  <a:pt x="4816" y="56"/>
                </a:lnTo>
                <a:lnTo>
                  <a:pt x="4816" y="64"/>
                </a:lnTo>
                <a:lnTo>
                  <a:pt x="4816" y="64"/>
                </a:lnTo>
                <a:lnTo>
                  <a:pt x="4808" y="138"/>
                </a:lnTo>
                <a:lnTo>
                  <a:pt x="4808" y="138"/>
                </a:lnTo>
                <a:lnTo>
                  <a:pt x="4800" y="200"/>
                </a:lnTo>
                <a:lnTo>
                  <a:pt x="4790" y="260"/>
                </a:lnTo>
                <a:lnTo>
                  <a:pt x="4776" y="318"/>
                </a:lnTo>
                <a:lnTo>
                  <a:pt x="4762" y="376"/>
                </a:lnTo>
                <a:lnTo>
                  <a:pt x="4744" y="434"/>
                </a:lnTo>
                <a:lnTo>
                  <a:pt x="4726" y="490"/>
                </a:lnTo>
                <a:lnTo>
                  <a:pt x="4704" y="544"/>
                </a:lnTo>
                <a:lnTo>
                  <a:pt x="4680" y="598"/>
                </a:lnTo>
                <a:lnTo>
                  <a:pt x="4654" y="652"/>
                </a:lnTo>
                <a:lnTo>
                  <a:pt x="4626" y="704"/>
                </a:lnTo>
                <a:lnTo>
                  <a:pt x="4594" y="754"/>
                </a:lnTo>
                <a:lnTo>
                  <a:pt x="4562" y="804"/>
                </a:lnTo>
                <a:lnTo>
                  <a:pt x="4528" y="852"/>
                </a:lnTo>
                <a:lnTo>
                  <a:pt x="4490" y="900"/>
                </a:lnTo>
                <a:lnTo>
                  <a:pt x="4452" y="948"/>
                </a:lnTo>
                <a:lnTo>
                  <a:pt x="4410" y="994"/>
                </a:lnTo>
                <a:lnTo>
                  <a:pt x="4410" y="994"/>
                </a:lnTo>
                <a:lnTo>
                  <a:pt x="4376" y="1030"/>
                </a:lnTo>
                <a:lnTo>
                  <a:pt x="4342" y="1064"/>
                </a:lnTo>
                <a:lnTo>
                  <a:pt x="4306" y="1098"/>
                </a:lnTo>
                <a:lnTo>
                  <a:pt x="4270" y="1130"/>
                </a:lnTo>
                <a:lnTo>
                  <a:pt x="4196" y="1194"/>
                </a:lnTo>
                <a:lnTo>
                  <a:pt x="4118" y="1252"/>
                </a:lnTo>
                <a:lnTo>
                  <a:pt x="4038" y="1308"/>
                </a:lnTo>
                <a:lnTo>
                  <a:pt x="3956" y="1360"/>
                </a:lnTo>
                <a:lnTo>
                  <a:pt x="3872" y="1410"/>
                </a:lnTo>
                <a:lnTo>
                  <a:pt x="3786" y="1458"/>
                </a:lnTo>
                <a:lnTo>
                  <a:pt x="3786" y="1458"/>
                </a:lnTo>
                <a:lnTo>
                  <a:pt x="3724" y="1488"/>
                </a:lnTo>
                <a:lnTo>
                  <a:pt x="3664" y="1518"/>
                </a:lnTo>
                <a:lnTo>
                  <a:pt x="3542" y="1574"/>
                </a:lnTo>
                <a:lnTo>
                  <a:pt x="3418" y="1626"/>
                </a:lnTo>
                <a:lnTo>
                  <a:pt x="3294" y="1678"/>
                </a:lnTo>
                <a:lnTo>
                  <a:pt x="3294" y="1678"/>
                </a:lnTo>
                <a:lnTo>
                  <a:pt x="3028" y="1790"/>
                </a:lnTo>
                <a:lnTo>
                  <a:pt x="2762" y="1904"/>
                </a:lnTo>
                <a:lnTo>
                  <a:pt x="2498" y="2020"/>
                </a:lnTo>
                <a:lnTo>
                  <a:pt x="2368" y="2080"/>
                </a:lnTo>
                <a:lnTo>
                  <a:pt x="2238" y="2142"/>
                </a:lnTo>
                <a:lnTo>
                  <a:pt x="2238" y="2142"/>
                </a:lnTo>
                <a:lnTo>
                  <a:pt x="2054" y="2232"/>
                </a:lnTo>
                <a:lnTo>
                  <a:pt x="1962" y="2278"/>
                </a:lnTo>
                <a:lnTo>
                  <a:pt x="1872" y="2326"/>
                </a:lnTo>
                <a:lnTo>
                  <a:pt x="1784" y="2376"/>
                </a:lnTo>
                <a:lnTo>
                  <a:pt x="1696" y="2428"/>
                </a:lnTo>
                <a:lnTo>
                  <a:pt x="1608" y="2482"/>
                </a:lnTo>
                <a:lnTo>
                  <a:pt x="1522" y="2538"/>
                </a:lnTo>
                <a:lnTo>
                  <a:pt x="1522" y="2538"/>
                </a:lnTo>
                <a:lnTo>
                  <a:pt x="1464" y="2578"/>
                </a:lnTo>
                <a:lnTo>
                  <a:pt x="1406" y="2620"/>
                </a:lnTo>
                <a:lnTo>
                  <a:pt x="1350" y="2664"/>
                </a:lnTo>
                <a:lnTo>
                  <a:pt x="1296" y="2710"/>
                </a:lnTo>
                <a:lnTo>
                  <a:pt x="1242" y="2758"/>
                </a:lnTo>
                <a:lnTo>
                  <a:pt x="1192" y="2808"/>
                </a:lnTo>
                <a:lnTo>
                  <a:pt x="1142" y="2860"/>
                </a:lnTo>
                <a:lnTo>
                  <a:pt x="1096" y="2916"/>
                </a:lnTo>
                <a:lnTo>
                  <a:pt x="1096" y="2916"/>
                </a:lnTo>
                <a:lnTo>
                  <a:pt x="1062" y="2962"/>
                </a:lnTo>
                <a:lnTo>
                  <a:pt x="1030" y="3008"/>
                </a:lnTo>
                <a:lnTo>
                  <a:pt x="1002" y="3054"/>
                </a:lnTo>
                <a:lnTo>
                  <a:pt x="976" y="3102"/>
                </a:lnTo>
                <a:lnTo>
                  <a:pt x="952" y="3152"/>
                </a:lnTo>
                <a:lnTo>
                  <a:pt x="934" y="3200"/>
                </a:lnTo>
                <a:lnTo>
                  <a:pt x="916" y="3250"/>
                </a:lnTo>
                <a:lnTo>
                  <a:pt x="904" y="3302"/>
                </a:lnTo>
                <a:lnTo>
                  <a:pt x="892" y="3352"/>
                </a:lnTo>
                <a:lnTo>
                  <a:pt x="884" y="3404"/>
                </a:lnTo>
                <a:lnTo>
                  <a:pt x="880" y="3458"/>
                </a:lnTo>
                <a:lnTo>
                  <a:pt x="878" y="3512"/>
                </a:lnTo>
                <a:lnTo>
                  <a:pt x="880" y="3566"/>
                </a:lnTo>
                <a:lnTo>
                  <a:pt x="884" y="3620"/>
                </a:lnTo>
                <a:lnTo>
                  <a:pt x="890" y="3676"/>
                </a:lnTo>
                <a:lnTo>
                  <a:pt x="900" y="3732"/>
                </a:lnTo>
                <a:lnTo>
                  <a:pt x="900" y="3732"/>
                </a:lnTo>
                <a:lnTo>
                  <a:pt x="914" y="3788"/>
                </a:lnTo>
                <a:lnTo>
                  <a:pt x="928" y="3844"/>
                </a:lnTo>
                <a:lnTo>
                  <a:pt x="944" y="3898"/>
                </a:lnTo>
                <a:lnTo>
                  <a:pt x="962" y="3952"/>
                </a:lnTo>
                <a:lnTo>
                  <a:pt x="982" y="4004"/>
                </a:lnTo>
                <a:lnTo>
                  <a:pt x="1004" y="4056"/>
                </a:lnTo>
                <a:lnTo>
                  <a:pt x="1028" y="4108"/>
                </a:lnTo>
                <a:lnTo>
                  <a:pt x="1052" y="4160"/>
                </a:lnTo>
                <a:lnTo>
                  <a:pt x="1052" y="4160"/>
                </a:lnTo>
                <a:lnTo>
                  <a:pt x="1088" y="4232"/>
                </a:lnTo>
                <a:lnTo>
                  <a:pt x="1126" y="4302"/>
                </a:lnTo>
                <a:lnTo>
                  <a:pt x="1126" y="4302"/>
                </a:lnTo>
                <a:lnTo>
                  <a:pt x="1130" y="4312"/>
                </a:lnTo>
                <a:lnTo>
                  <a:pt x="1132" y="4316"/>
                </a:lnTo>
                <a:lnTo>
                  <a:pt x="1130" y="4318"/>
                </a:lnTo>
                <a:lnTo>
                  <a:pt x="1126" y="4320"/>
                </a:lnTo>
                <a:lnTo>
                  <a:pt x="1116" y="4320"/>
                </a:lnTo>
                <a:lnTo>
                  <a:pt x="1116" y="4320"/>
                </a:lnTo>
                <a:lnTo>
                  <a:pt x="1100" y="4320"/>
                </a:lnTo>
                <a:lnTo>
                  <a:pt x="1100" y="4320"/>
                </a:lnTo>
                <a:lnTo>
                  <a:pt x="0" y="4320"/>
                </a:lnTo>
                <a:lnTo>
                  <a:pt x="0" y="4320"/>
                </a:lnTo>
                <a:close/>
              </a:path>
            </a:pathLst>
          </a:custGeom>
          <a:solidFill>
            <a:srgbClr val="12AADA"/>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60708" y="434513"/>
            <a:ext cx="5419268"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a:t>Click to insert section title</a:t>
            </a:r>
            <a:endParaRPr lang="pt-PT"/>
          </a:p>
        </p:txBody>
      </p:sp>
      <p:grpSp>
        <p:nvGrpSpPr>
          <p:cNvPr id="9" name="Groupe 1"/>
          <p:cNvGrpSpPr/>
          <p:nvPr userDrawn="1"/>
        </p:nvGrpSpPr>
        <p:grpSpPr>
          <a:xfrm>
            <a:off x="11501102" y="171573"/>
            <a:ext cx="419436" cy="388988"/>
            <a:chOff x="11501102" y="171573"/>
            <a:chExt cx="419436" cy="388988"/>
          </a:xfrm>
        </p:grpSpPr>
        <p:sp>
          <p:nvSpPr>
            <p:cNvPr id="11"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2"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521492389"/>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7_Title Slide 1">
    <p:bg>
      <p:bgRef idx="1001">
        <a:schemeClr val="bg2"/>
      </p:bgRef>
    </p:bg>
    <p:spTree>
      <p:nvGrpSpPr>
        <p:cNvPr id="1" name=""/>
        <p:cNvGrpSpPr/>
        <p:nvPr/>
      </p:nvGrpSpPr>
      <p:grpSpPr>
        <a:xfrm>
          <a:off x="0" y="0"/>
          <a:ext cx="0" cy="0"/>
          <a:chOff x="0" y="0"/>
          <a:chExt cx="0" cy="0"/>
        </a:xfrm>
      </p:grpSpPr>
      <p:pic>
        <p:nvPicPr>
          <p:cNvPr id="5" name="Picture 4" descr="A picture containing person, woman, table, computer&#10;&#10;Description automatically generated">
            <a:extLst>
              <a:ext uri="{FF2B5EF4-FFF2-40B4-BE49-F238E27FC236}">
                <a16:creationId xmlns:a16="http://schemas.microsoft.com/office/drawing/2014/main" id="{13B34EC7-45F7-4755-9B44-24A0BCE87C63}"/>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2"/>
            <a:ext cx="12192000" cy="6858001"/>
          </a:xfrm>
          <a:prstGeom prst="rect">
            <a:avLst/>
          </a:prstGeom>
        </p:spPr>
      </p:pic>
      <p:sp>
        <p:nvSpPr>
          <p:cNvPr id="29" name="Freeform 21"/>
          <p:cNvSpPr>
            <a:spLocks/>
          </p:cNvSpPr>
          <p:nvPr userDrawn="1"/>
        </p:nvSpPr>
        <p:spPr bwMode="auto">
          <a:xfrm rot="5400000" flipH="1">
            <a:off x="1488189" y="-1488189"/>
            <a:ext cx="1984247" cy="4960626"/>
          </a:xfrm>
          <a:custGeom>
            <a:avLst/>
            <a:gdLst>
              <a:gd name="T0" fmla="*/ 695 w 1228"/>
              <a:gd name="T1" fmla="*/ 10 h 1472"/>
              <a:gd name="T2" fmla="*/ 1228 w 1228"/>
              <a:gd name="T3" fmla="*/ 55 h 1472"/>
              <a:gd name="T4" fmla="*/ 1228 w 1228"/>
              <a:gd name="T5" fmla="*/ 1472 h 1472"/>
              <a:gd name="T6" fmla="*/ 322 w 1228"/>
              <a:gd name="T7" fmla="*/ 1472 h 1472"/>
              <a:gd name="T8" fmla="*/ 229 w 1228"/>
              <a:gd name="T9" fmla="*/ 1332 h 1472"/>
              <a:gd name="T10" fmla="*/ 695 w 1228"/>
              <a:gd name="T11" fmla="*/ 10 h 1472"/>
            </a:gdLst>
            <a:ahLst/>
            <a:cxnLst>
              <a:cxn ang="0">
                <a:pos x="T0" y="T1"/>
              </a:cxn>
              <a:cxn ang="0">
                <a:pos x="T2" y="T3"/>
              </a:cxn>
              <a:cxn ang="0">
                <a:pos x="T4" y="T5"/>
              </a:cxn>
              <a:cxn ang="0">
                <a:pos x="T6" y="T7"/>
              </a:cxn>
              <a:cxn ang="0">
                <a:pos x="T8" y="T9"/>
              </a:cxn>
              <a:cxn ang="0">
                <a:pos x="T10" y="T11"/>
              </a:cxn>
            </a:cxnLst>
            <a:rect l="0" t="0" r="r" b="b"/>
            <a:pathLst>
              <a:path w="1228" h="1472">
                <a:moveTo>
                  <a:pt x="695" y="10"/>
                </a:moveTo>
                <a:cubicBezTo>
                  <a:pt x="880" y="0"/>
                  <a:pt x="1062" y="13"/>
                  <a:pt x="1228" y="55"/>
                </a:cubicBezTo>
                <a:cubicBezTo>
                  <a:pt x="1228" y="1472"/>
                  <a:pt x="1228" y="1472"/>
                  <a:pt x="1228" y="1472"/>
                </a:cubicBezTo>
                <a:cubicBezTo>
                  <a:pt x="322" y="1472"/>
                  <a:pt x="322" y="1472"/>
                  <a:pt x="322" y="1472"/>
                </a:cubicBezTo>
                <a:cubicBezTo>
                  <a:pt x="285" y="1432"/>
                  <a:pt x="253" y="1385"/>
                  <a:pt x="229" y="1332"/>
                </a:cubicBezTo>
                <a:cubicBezTo>
                  <a:pt x="0" y="833"/>
                  <a:pt x="606" y="339"/>
                  <a:pt x="695" y="10"/>
                </a:cubicBezTo>
              </a:path>
            </a:pathLst>
          </a:custGeom>
          <a:solidFill>
            <a:schemeClr val="bg1">
              <a:alpha val="84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aphicFrame>
        <p:nvGraphicFramePr>
          <p:cNvPr id="7" name="Object 6"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3" name="Picture 12">
            <a:extLst>
              <a:ext uri="{FF2B5EF4-FFF2-40B4-BE49-F238E27FC236}">
                <a16:creationId xmlns:a16="http://schemas.microsoft.com/office/drawing/2014/main" id="{0D5777AC-D3F6-4BA0-BEA3-47A7321EFEE9}"/>
              </a:ext>
            </a:extLst>
          </p:cNvPr>
          <p:cNvPicPr>
            <a:picLocks noChangeAspect="1"/>
          </p:cNvPicPr>
          <p:nvPr userDrawn="1"/>
        </p:nvPicPr>
        <p:blipFill>
          <a:blip r:embed="rId6"/>
          <a:stretch>
            <a:fillRect/>
          </a:stretch>
        </p:blipFill>
        <p:spPr>
          <a:xfrm>
            <a:off x="2822879" y="574903"/>
            <a:ext cx="1648537" cy="246333"/>
          </a:xfrm>
          <a:prstGeom prst="rect">
            <a:avLst/>
          </a:prstGeom>
        </p:spPr>
      </p:pic>
      <p:cxnSp>
        <p:nvCxnSpPr>
          <p:cNvPr id="15" name="Straight Connector 14"/>
          <p:cNvCxnSpPr/>
          <p:nvPr userDrawn="1"/>
        </p:nvCxnSpPr>
        <p:spPr>
          <a:xfrm flipV="1">
            <a:off x="2680900" y="574903"/>
            <a:ext cx="0" cy="297702"/>
          </a:xfrm>
          <a:prstGeom prst="line">
            <a:avLst/>
          </a:prstGeom>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46B4B5E0-DA37-4DBA-B3B3-3AAA054A0CA6}"/>
              </a:ext>
            </a:extLst>
          </p:cNvPr>
          <p:cNvGrpSpPr>
            <a:grpSpLocks noChangeAspect="1"/>
          </p:cNvGrpSpPr>
          <p:nvPr userDrawn="1"/>
        </p:nvGrpSpPr>
        <p:grpSpPr>
          <a:xfrm>
            <a:off x="407988" y="531760"/>
            <a:ext cx="2112264" cy="470923"/>
            <a:chOff x="728663" y="4465638"/>
            <a:chExt cx="5354637" cy="1193801"/>
          </a:xfrm>
        </p:grpSpPr>
        <p:sp>
          <p:nvSpPr>
            <p:cNvPr id="24" name="Freeform 11">
              <a:extLst>
                <a:ext uri="{FF2B5EF4-FFF2-40B4-BE49-F238E27FC236}">
                  <a16:creationId xmlns:a16="http://schemas.microsoft.com/office/drawing/2014/main" id="{5B32C90C-A3F8-4FBD-B1DC-A7F7F77D04E7}"/>
                </a:ext>
              </a:extLst>
            </p:cNvPr>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sp>
          <p:nvSpPr>
            <p:cNvPr id="25" name="Freeform 12">
              <a:extLst>
                <a:ext uri="{FF2B5EF4-FFF2-40B4-BE49-F238E27FC236}">
                  <a16:creationId xmlns:a16="http://schemas.microsoft.com/office/drawing/2014/main" id="{4129D67E-CA09-4012-ACE6-199E9801FAAD}"/>
                </a:ext>
              </a:extLst>
            </p:cNvPr>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sp>
          <p:nvSpPr>
            <p:cNvPr id="26" name="Freeform 13">
              <a:extLst>
                <a:ext uri="{FF2B5EF4-FFF2-40B4-BE49-F238E27FC236}">
                  <a16:creationId xmlns:a16="http://schemas.microsoft.com/office/drawing/2014/main" id="{A2744AD4-2D17-4A98-B83E-BA3821D32AFC}"/>
                </a:ext>
              </a:extLst>
            </p:cNvPr>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sp>
          <p:nvSpPr>
            <p:cNvPr id="27" name="Freeform 14">
              <a:extLst>
                <a:ext uri="{FF2B5EF4-FFF2-40B4-BE49-F238E27FC236}">
                  <a16:creationId xmlns:a16="http://schemas.microsoft.com/office/drawing/2014/main" id="{27F5C11D-4079-459F-B8CF-4E313C3BBF63}"/>
                </a:ext>
              </a:extLst>
            </p:cNvPr>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sp>
          <p:nvSpPr>
            <p:cNvPr id="28" name="Freeform 15">
              <a:extLst>
                <a:ext uri="{FF2B5EF4-FFF2-40B4-BE49-F238E27FC236}">
                  <a16:creationId xmlns:a16="http://schemas.microsoft.com/office/drawing/2014/main" id="{127DC4BD-BF71-42B8-97E4-A5D70EFDD02B}"/>
                </a:ext>
              </a:extLst>
            </p:cNvPr>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grpSp>
    </p:spTree>
    <p:extLst>
      <p:ext uri="{BB962C8B-B14F-4D97-AF65-F5344CB8AC3E}">
        <p14:creationId xmlns:p14="http://schemas.microsoft.com/office/powerpoint/2010/main" val="369117178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Titre 2"/>
          <p:cNvSpPr>
            <a:spLocks noGrp="1"/>
          </p:cNvSpPr>
          <p:nvPr>
            <p:ph type="title"/>
          </p:nvPr>
        </p:nvSpPr>
        <p:spPr/>
        <p:txBody>
          <a:bodyPr/>
          <a:lstStyle>
            <a:lvl1pPr>
              <a:lnSpc>
                <a:spcPct val="100000"/>
              </a:lnSpc>
              <a:defRPr/>
            </a:lvl1pPr>
          </a:lstStyle>
          <a:p>
            <a:r>
              <a:rPr lang="en-US"/>
              <a:t>Click to edit Master title style</a:t>
            </a:r>
          </a:p>
        </p:txBody>
      </p:sp>
    </p:spTree>
    <p:extLst>
      <p:ext uri="{BB962C8B-B14F-4D97-AF65-F5344CB8AC3E}">
        <p14:creationId xmlns:p14="http://schemas.microsoft.com/office/powerpoint/2010/main" val="350916001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35880185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2214" y="1295400"/>
            <a:ext cx="9702386" cy="6043284"/>
          </a:xfrm>
          <a:prstGeom prst="rect">
            <a:avLst/>
          </a:prstGeom>
        </p:spPr>
      </p:pic>
      <p:pic>
        <p:nvPicPr>
          <p:cNvPr id="22" name="Picture 7" descr="facebook">
            <a:hlinkClick r:id="rId3"/>
            <a:extLst>
              <a:ext uri="{FF2B5EF4-FFF2-40B4-BE49-F238E27FC236}">
                <a16:creationId xmlns:a16="http://schemas.microsoft.com/office/drawing/2014/main" id="{BCC76D32-C587-45AA-A26C-ED5B038C867B}"/>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426720" y="5328053"/>
            <a:ext cx="333195" cy="333195"/>
          </a:xfrm>
          <a:prstGeom prst="rect">
            <a:avLst/>
          </a:prstGeom>
          <a:noFill/>
        </p:spPr>
      </p:pic>
      <p:pic>
        <p:nvPicPr>
          <p:cNvPr id="17" name="Picture 2" descr="LinkedIn">
            <a:hlinkClick r:id="rId5"/>
            <a:extLst>
              <a:ext uri="{FF2B5EF4-FFF2-40B4-BE49-F238E27FC236}">
                <a16:creationId xmlns:a16="http://schemas.microsoft.com/office/drawing/2014/main" id="{F6DF1D6E-8462-43E1-AFC5-8A5C855024F4}"/>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810097" y="5328053"/>
            <a:ext cx="333195" cy="333195"/>
          </a:xfrm>
          <a:prstGeom prst="rect">
            <a:avLst/>
          </a:prstGeom>
          <a:noFill/>
        </p:spPr>
      </p:pic>
      <p:pic>
        <p:nvPicPr>
          <p:cNvPr id="19" name="Picture 4" descr="SlideShare">
            <a:hlinkClick r:id="rId7"/>
            <a:extLst>
              <a:ext uri="{FF2B5EF4-FFF2-40B4-BE49-F238E27FC236}">
                <a16:creationId xmlns:a16="http://schemas.microsoft.com/office/drawing/2014/main" id="{DA74C6D2-FFE3-4CE8-B52D-0A33097AEEAF}"/>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1193474" y="5328053"/>
            <a:ext cx="333195" cy="333195"/>
          </a:xfrm>
          <a:prstGeom prst="rect">
            <a:avLst/>
          </a:prstGeom>
          <a:noFill/>
        </p:spPr>
      </p:pic>
      <p:pic>
        <p:nvPicPr>
          <p:cNvPr id="20" name="Picture 5" descr="Twitter">
            <a:hlinkClick r:id="rId9"/>
            <a:extLst>
              <a:ext uri="{FF2B5EF4-FFF2-40B4-BE49-F238E27FC236}">
                <a16:creationId xmlns:a16="http://schemas.microsoft.com/office/drawing/2014/main" id="{14E10122-92A2-4535-9737-8C1BE0EE0AEC}"/>
              </a:ext>
            </a:extLst>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1576851" y="5328053"/>
            <a:ext cx="333195" cy="333195"/>
          </a:xfrm>
          <a:prstGeom prst="rect">
            <a:avLst/>
          </a:prstGeom>
          <a:noFill/>
        </p:spPr>
      </p:pic>
      <p:pic>
        <p:nvPicPr>
          <p:cNvPr id="21" name="Picture 6" descr="YouTube">
            <a:hlinkClick r:id="rId11"/>
            <a:extLst>
              <a:ext uri="{FF2B5EF4-FFF2-40B4-BE49-F238E27FC236}">
                <a16:creationId xmlns:a16="http://schemas.microsoft.com/office/drawing/2014/main" id="{BA6EF96A-02CA-41A1-9095-358FE7486671}"/>
              </a:ext>
            </a:extLst>
          </p:cNvPr>
          <p:cNvPicPr>
            <a:picLocks noChangeAspect="1" noChangeArrowheads="1"/>
          </p:cNvPicPr>
          <p:nvPr userDrawn="1"/>
        </p:nvPicPr>
        <p:blipFill>
          <a:blip r:embed="rId12" cstate="screen">
            <a:extLst>
              <a:ext uri="{28A0092B-C50C-407E-A947-70E740481C1C}">
                <a14:useLocalDpi xmlns:a14="http://schemas.microsoft.com/office/drawing/2010/main"/>
              </a:ext>
            </a:extLst>
          </a:blip>
          <a:srcRect/>
          <a:stretch>
            <a:fillRect/>
          </a:stretch>
        </p:blipFill>
        <p:spPr bwMode="auto">
          <a:xfrm>
            <a:off x="1960227" y="5328053"/>
            <a:ext cx="333195" cy="333195"/>
          </a:xfrm>
          <a:prstGeom prst="rect">
            <a:avLst/>
          </a:prstGeom>
          <a:noFill/>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3 Capgemini. All rights reserved.</a:t>
            </a:r>
          </a:p>
        </p:txBody>
      </p:sp>
      <p:grpSp>
        <p:nvGrpSpPr>
          <p:cNvPr id="10" name="Group 9">
            <a:extLst>
              <a:ext uri="{FF2B5EF4-FFF2-40B4-BE49-F238E27FC236}">
                <a16:creationId xmlns:a16="http://schemas.microsoft.com/office/drawing/2014/main" id="{665BE2A4-4ACC-4E54-9A85-77DFC7F65F01}"/>
              </a:ext>
            </a:extLst>
          </p:cNvPr>
          <p:cNvGrpSpPr>
            <a:grpSpLocks noChangeAspect="1"/>
          </p:cNvGrpSpPr>
          <p:nvPr userDrawn="1"/>
        </p:nvGrpSpPr>
        <p:grpSpPr>
          <a:xfrm>
            <a:off x="9161718" y="5747778"/>
            <a:ext cx="2231297" cy="501650"/>
            <a:chOff x="9550400" y="612775"/>
            <a:chExt cx="2231297" cy="501650"/>
          </a:xfrm>
        </p:grpSpPr>
        <p:sp>
          <p:nvSpPr>
            <p:cNvPr id="11" name="Freeform: Shape 10">
              <a:extLst>
                <a:ext uri="{FF2B5EF4-FFF2-40B4-BE49-F238E27FC236}">
                  <a16:creationId xmlns:a16="http://schemas.microsoft.com/office/drawing/2014/main" id="{0CE61B69-C06F-4D0A-9437-BC399186700C}"/>
                </a:ext>
              </a:extLst>
            </p:cNvPr>
            <p:cNvSpPr/>
            <p:nvPr/>
          </p:nvSpPr>
          <p:spPr>
            <a:xfrm>
              <a:off x="11517270" y="764033"/>
              <a:ext cx="261161" cy="212194"/>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12" name="Freeform: Shape 11">
              <a:extLst>
                <a:ext uri="{FF2B5EF4-FFF2-40B4-BE49-F238E27FC236}">
                  <a16:creationId xmlns:a16="http://schemas.microsoft.com/office/drawing/2014/main" id="{96F08509-FA85-4193-A497-0E692E886745}"/>
                </a:ext>
              </a:extLst>
            </p:cNvPr>
            <p:cNvSpPr/>
            <p:nvPr/>
          </p:nvSpPr>
          <p:spPr>
            <a:xfrm>
              <a:off x="9550400" y="619305"/>
              <a:ext cx="1811806" cy="495120"/>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dirty="0"/>
            </a:p>
          </p:txBody>
        </p:sp>
        <p:sp>
          <p:nvSpPr>
            <p:cNvPr id="13" name="Freeform: Shape 12">
              <a:extLst>
                <a:ext uri="{FF2B5EF4-FFF2-40B4-BE49-F238E27FC236}">
                  <a16:creationId xmlns:a16="http://schemas.microsoft.com/office/drawing/2014/main" id="{A40793F6-8550-4F9A-98A1-4BD1C63DE3E6}"/>
                </a:ext>
              </a:extLst>
            </p:cNvPr>
            <p:cNvSpPr/>
            <p:nvPr/>
          </p:nvSpPr>
          <p:spPr>
            <a:xfrm>
              <a:off x="10915493" y="643771"/>
              <a:ext cx="54409" cy="59850"/>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4" name="Freeform: Shape 13">
              <a:extLst>
                <a:ext uri="{FF2B5EF4-FFF2-40B4-BE49-F238E27FC236}">
                  <a16:creationId xmlns:a16="http://schemas.microsoft.com/office/drawing/2014/main" id="{AF68DDBF-3EE2-4BFD-9E41-A500A2DB8E18}"/>
                </a:ext>
              </a:extLst>
            </p:cNvPr>
            <p:cNvSpPr/>
            <p:nvPr/>
          </p:nvSpPr>
          <p:spPr>
            <a:xfrm>
              <a:off x="11270254" y="654106"/>
              <a:ext cx="54409" cy="54409"/>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5" name="Freeform: Shape 14">
              <a:extLst>
                <a:ext uri="{FF2B5EF4-FFF2-40B4-BE49-F238E27FC236}">
                  <a16:creationId xmlns:a16="http://schemas.microsoft.com/office/drawing/2014/main" id="{F22E4E1F-DFDD-4EF6-8781-D2EC7D60F89D}"/>
                </a:ext>
              </a:extLst>
            </p:cNvPr>
            <p:cNvSpPr/>
            <p:nvPr/>
          </p:nvSpPr>
          <p:spPr>
            <a:xfrm>
              <a:off x="11384515" y="612775"/>
              <a:ext cx="397182" cy="331893"/>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Tree>
    <p:extLst>
      <p:ext uri="{BB962C8B-B14F-4D97-AF65-F5344CB8AC3E}">
        <p14:creationId xmlns:p14="http://schemas.microsoft.com/office/powerpoint/2010/main" val="263254761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48_Title and Content">
    <p:spTree>
      <p:nvGrpSpPr>
        <p:cNvPr id="1" name=""/>
        <p:cNvGrpSpPr/>
        <p:nvPr/>
      </p:nvGrpSpPr>
      <p:grpSpPr>
        <a:xfrm>
          <a:off x="0" y="0"/>
          <a:ext cx="0" cy="0"/>
          <a:chOff x="0" y="0"/>
          <a:chExt cx="0" cy="0"/>
        </a:xfrm>
      </p:grpSpPr>
      <p:sp>
        <p:nvSpPr>
          <p:cNvPr id="17" name="Rectangle 16"/>
          <p:cNvSpPr/>
          <p:nvPr userDrawn="1"/>
        </p:nvSpPr>
        <p:spPr>
          <a:xfrm>
            <a:off x="7335519" y="50476"/>
            <a:ext cx="4822363" cy="8221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Rectangle 2"/>
          <p:cNvSpPr/>
          <p:nvPr userDrawn="1"/>
        </p:nvSpPr>
        <p:spPr>
          <a:xfrm>
            <a:off x="0" y="6489700"/>
            <a:ext cx="8920480" cy="3683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2" name="Group 1"/>
          <p:cNvGrpSpPr/>
          <p:nvPr userDrawn="1"/>
        </p:nvGrpSpPr>
        <p:grpSpPr>
          <a:xfrm>
            <a:off x="1597306" y="283051"/>
            <a:ext cx="10594696" cy="6574951"/>
            <a:chOff x="1597306" y="283051"/>
            <a:chExt cx="10594696" cy="6574951"/>
          </a:xfrm>
        </p:grpSpPr>
        <p:sp>
          <p:nvSpPr>
            <p:cNvPr id="86" name="Freeform 85"/>
            <p:cNvSpPr>
              <a:spLocks/>
            </p:cNvSpPr>
            <p:nvPr userDrawn="1"/>
          </p:nvSpPr>
          <p:spPr bwMode="auto">
            <a:xfrm>
              <a:off x="1597306" y="283051"/>
              <a:ext cx="10443974" cy="6574951"/>
            </a:xfrm>
            <a:custGeom>
              <a:avLst/>
              <a:gdLst>
                <a:gd name="connsiteX0" fmla="*/ 5109052 w 5903342"/>
                <a:gd name="connsiteY0" fmla="*/ 2513 h 3716419"/>
                <a:gd name="connsiteX1" fmla="*/ 2500056 w 5903342"/>
                <a:gd name="connsiteY1" fmla="*/ 1175897 h 3716419"/>
                <a:gd name="connsiteX2" fmla="*/ 3091631 w 5903342"/>
                <a:gd name="connsiteY2" fmla="*/ 3385516 h 3716419"/>
                <a:gd name="connsiteX3" fmla="*/ 1104546 w 5903342"/>
                <a:gd name="connsiteY3" fmla="*/ 2532146 h 3716419"/>
                <a:gd name="connsiteX4" fmla="*/ 8098 w 5903342"/>
                <a:gd name="connsiteY4" fmla="*/ 3697017 h 3716419"/>
                <a:gd name="connsiteX5" fmla="*/ 0 w 5903342"/>
                <a:gd name="connsiteY5" fmla="*/ 3716419 h 3716419"/>
                <a:gd name="connsiteX6" fmla="*/ 4954993 w 5903342"/>
                <a:gd name="connsiteY6" fmla="*/ 3716419 h 3716419"/>
                <a:gd name="connsiteX7" fmla="*/ 4923000 w 5903342"/>
                <a:gd name="connsiteY7" fmla="*/ 3644099 h 3716419"/>
                <a:gd name="connsiteX8" fmla="*/ 4669163 w 5903342"/>
                <a:gd name="connsiteY8" fmla="*/ 2791205 h 3716419"/>
                <a:gd name="connsiteX9" fmla="*/ 5897818 w 5903342"/>
                <a:gd name="connsiteY9" fmla="*/ 886361 h 3716419"/>
                <a:gd name="connsiteX10" fmla="*/ 5124221 w 5903342"/>
                <a:gd name="connsiteY10" fmla="*/ 17752 h 3716419"/>
                <a:gd name="connsiteX11" fmla="*/ 5109052 w 5903342"/>
                <a:gd name="connsiteY11" fmla="*/ 2513 h 3716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903342" h="3716419">
                  <a:moveTo>
                    <a:pt x="5109052" y="2513"/>
                  </a:moveTo>
                  <a:cubicBezTo>
                    <a:pt x="3774217" y="-58442"/>
                    <a:pt x="2682079" y="1008271"/>
                    <a:pt x="2500056" y="1175897"/>
                  </a:cubicBezTo>
                  <a:cubicBezTo>
                    <a:pt x="2575899" y="1358762"/>
                    <a:pt x="3379833" y="3035025"/>
                    <a:pt x="3091631" y="3385516"/>
                  </a:cubicBezTo>
                  <a:cubicBezTo>
                    <a:pt x="2788259" y="3751246"/>
                    <a:pt x="1878144" y="2516907"/>
                    <a:pt x="1104546" y="2532146"/>
                  </a:cubicBezTo>
                  <a:cubicBezTo>
                    <a:pt x="583126" y="2553099"/>
                    <a:pt x="197927" y="3258308"/>
                    <a:pt x="8098" y="3697017"/>
                  </a:cubicBezTo>
                  <a:lnTo>
                    <a:pt x="0" y="3716419"/>
                  </a:lnTo>
                  <a:lnTo>
                    <a:pt x="4954993" y="3716419"/>
                  </a:lnTo>
                  <a:lnTo>
                    <a:pt x="4923000" y="3644099"/>
                  </a:lnTo>
                  <a:cubicBezTo>
                    <a:pt x="4757331" y="3248367"/>
                    <a:pt x="4657787" y="2882637"/>
                    <a:pt x="4669163" y="2791205"/>
                  </a:cubicBezTo>
                  <a:cubicBezTo>
                    <a:pt x="4745006" y="2699772"/>
                    <a:pt x="5821975" y="1694015"/>
                    <a:pt x="5897818" y="886361"/>
                  </a:cubicBezTo>
                  <a:cubicBezTo>
                    <a:pt x="5973661" y="139662"/>
                    <a:pt x="5245569" y="17752"/>
                    <a:pt x="5124221" y="17752"/>
                  </a:cubicBezTo>
                  <a:cubicBezTo>
                    <a:pt x="5124221" y="2513"/>
                    <a:pt x="5109052" y="2513"/>
                    <a:pt x="5109052" y="2513"/>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solidFill>
                  <a:srgbClr val="000000"/>
                </a:solidFill>
              </a:endParaRPr>
            </a:p>
          </p:txBody>
        </p:sp>
        <p:sp>
          <p:nvSpPr>
            <p:cNvPr id="88" name="Freeform 87"/>
            <p:cNvSpPr>
              <a:spLocks/>
            </p:cNvSpPr>
            <p:nvPr userDrawn="1"/>
          </p:nvSpPr>
          <p:spPr bwMode="auto">
            <a:xfrm>
              <a:off x="9830952" y="316619"/>
              <a:ext cx="2361050" cy="6541383"/>
            </a:xfrm>
            <a:custGeom>
              <a:avLst/>
              <a:gdLst>
                <a:gd name="connsiteX0" fmla="*/ 557223 w 1334558"/>
                <a:gd name="connsiteY0" fmla="*/ 0 h 3697445"/>
                <a:gd name="connsiteX1" fmla="*/ 564975 w 1334558"/>
                <a:gd name="connsiteY1" fmla="*/ 23259 h 3697445"/>
                <a:gd name="connsiteX2" fmla="*/ 567424 w 1334558"/>
                <a:gd name="connsiteY2" fmla="*/ 23870 h 3697445"/>
                <a:gd name="connsiteX3" fmla="*/ 1228452 w 1334558"/>
                <a:gd name="connsiteY3" fmla="*/ 869779 h 3697445"/>
                <a:gd name="connsiteX4" fmla="*/ 892 w 1334558"/>
                <a:gd name="connsiteY4" fmla="*/ 2773264 h 3697445"/>
                <a:gd name="connsiteX5" fmla="*/ 254467 w 1334558"/>
                <a:gd name="connsiteY5" fmla="*/ 3625440 h 3697445"/>
                <a:gd name="connsiteX6" fmla="*/ 286334 w 1334558"/>
                <a:gd name="connsiteY6" fmla="*/ 3697445 h 3697445"/>
                <a:gd name="connsiteX7" fmla="*/ 1334558 w 1334558"/>
                <a:gd name="connsiteY7" fmla="*/ 3697445 h 3697445"/>
                <a:gd name="connsiteX8" fmla="*/ 1334558 w 1334558"/>
                <a:gd name="connsiteY8" fmla="*/ 314533 h 3697445"/>
                <a:gd name="connsiteX9" fmla="*/ 1222851 w 1334558"/>
                <a:gd name="connsiteY9" fmla="*/ 242390 h 3697445"/>
                <a:gd name="connsiteX10" fmla="*/ 607769 w 1334558"/>
                <a:gd name="connsiteY10" fmla="*/ 5872 h 3697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34558" h="3697445">
                  <a:moveTo>
                    <a:pt x="557223" y="0"/>
                  </a:moveTo>
                  <a:lnTo>
                    <a:pt x="564975" y="23259"/>
                  </a:lnTo>
                  <a:lnTo>
                    <a:pt x="567424" y="23870"/>
                  </a:lnTo>
                  <a:cubicBezTo>
                    <a:pt x="717277" y="58102"/>
                    <a:pt x="1299581" y="170273"/>
                    <a:pt x="1228452" y="869779"/>
                  </a:cubicBezTo>
                  <a:cubicBezTo>
                    <a:pt x="1152992" y="1676853"/>
                    <a:pt x="76765" y="2681662"/>
                    <a:pt x="892" y="2773264"/>
                  </a:cubicBezTo>
                  <a:cubicBezTo>
                    <a:pt x="-10551" y="2864665"/>
                    <a:pt x="88877" y="3230043"/>
                    <a:pt x="254467" y="3625440"/>
                  </a:cubicBezTo>
                  <a:lnTo>
                    <a:pt x="286334" y="3697445"/>
                  </a:lnTo>
                  <a:lnTo>
                    <a:pt x="1334558" y="3697445"/>
                  </a:lnTo>
                  <a:lnTo>
                    <a:pt x="1334558" y="314533"/>
                  </a:lnTo>
                  <a:lnTo>
                    <a:pt x="1222851" y="242390"/>
                  </a:lnTo>
                  <a:cubicBezTo>
                    <a:pt x="1026568" y="125420"/>
                    <a:pt x="821595" y="42939"/>
                    <a:pt x="607769" y="5872"/>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solidFill>
                  <a:srgbClr val="000000"/>
                </a:solidFill>
              </a:endParaRPr>
            </a:p>
          </p:txBody>
        </p:sp>
      </p:grpSp>
      <p:sp>
        <p:nvSpPr>
          <p:cNvPr id="5" name="Title 1"/>
          <p:cNvSpPr>
            <a:spLocks noGrp="1"/>
          </p:cNvSpPr>
          <p:nvPr>
            <p:ph type="ctrTitle" hasCustomPrompt="1"/>
          </p:nvPr>
        </p:nvSpPr>
        <p:spPr>
          <a:xfrm>
            <a:off x="407988" y="2051617"/>
            <a:ext cx="4142965"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ct val="100000"/>
              </a:lnSpc>
              <a:spcBef>
                <a:spcPts val="600"/>
              </a:spcBef>
              <a:defRPr lang="en-US" sz="3600" b="1" dirty="0">
                <a:solidFill>
                  <a:schemeClr val="accent1"/>
                </a:solidFill>
              </a:defRPr>
            </a:lvl1pPr>
          </a:lstStyle>
          <a:p>
            <a:pPr marL="0" lvl="0"/>
            <a:r>
              <a:rPr lang="en-US"/>
              <a:t>Click to insert title</a:t>
            </a:r>
          </a:p>
        </p:txBody>
      </p:sp>
      <p:sp>
        <p:nvSpPr>
          <p:cNvPr id="6" name="Subtitle 2"/>
          <p:cNvSpPr>
            <a:spLocks noGrp="1"/>
          </p:cNvSpPr>
          <p:nvPr>
            <p:ph type="subTitle" idx="1" hasCustomPrompt="1"/>
          </p:nvPr>
        </p:nvSpPr>
        <p:spPr>
          <a:xfrm>
            <a:off x="407989" y="3669645"/>
            <a:ext cx="4142964" cy="3169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2"/>
                </a:solidFill>
              </a:defRPr>
            </a:lvl1pPr>
          </a:lstStyle>
          <a:p>
            <a:pPr marL="0" lvl="0"/>
            <a:r>
              <a:rPr lang="en-US"/>
              <a:t>Click to insert</a:t>
            </a:r>
          </a:p>
        </p:txBody>
      </p:sp>
      <p:grpSp>
        <p:nvGrpSpPr>
          <p:cNvPr id="7" name="Group 6">
            <a:extLst>
              <a:ext uri="{FF2B5EF4-FFF2-40B4-BE49-F238E27FC236}">
                <a16:creationId xmlns:a16="http://schemas.microsoft.com/office/drawing/2014/main" id="{46B4B5E0-DA37-4DBA-B3B3-3AAA054A0CA6}"/>
              </a:ext>
            </a:extLst>
          </p:cNvPr>
          <p:cNvGrpSpPr>
            <a:grpSpLocks noChangeAspect="1"/>
          </p:cNvGrpSpPr>
          <p:nvPr userDrawn="1"/>
        </p:nvGrpSpPr>
        <p:grpSpPr>
          <a:xfrm>
            <a:off x="407988" y="531760"/>
            <a:ext cx="2112264" cy="470923"/>
            <a:chOff x="728663" y="4465638"/>
            <a:chExt cx="5354637" cy="1193801"/>
          </a:xfrm>
        </p:grpSpPr>
        <p:sp>
          <p:nvSpPr>
            <p:cNvPr id="8" name="Freeform 11">
              <a:extLst>
                <a:ext uri="{FF2B5EF4-FFF2-40B4-BE49-F238E27FC236}">
                  <a16:creationId xmlns:a16="http://schemas.microsoft.com/office/drawing/2014/main" id="{5B32C90C-A3F8-4FBD-B1DC-A7F7F77D04E7}"/>
                </a:ext>
              </a:extLst>
            </p:cNvPr>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sp>
          <p:nvSpPr>
            <p:cNvPr id="9" name="Freeform 12">
              <a:extLst>
                <a:ext uri="{FF2B5EF4-FFF2-40B4-BE49-F238E27FC236}">
                  <a16:creationId xmlns:a16="http://schemas.microsoft.com/office/drawing/2014/main" id="{4129D67E-CA09-4012-ACE6-199E9801FAAD}"/>
                </a:ext>
              </a:extLst>
            </p:cNvPr>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sp>
          <p:nvSpPr>
            <p:cNvPr id="10" name="Freeform 13">
              <a:extLst>
                <a:ext uri="{FF2B5EF4-FFF2-40B4-BE49-F238E27FC236}">
                  <a16:creationId xmlns:a16="http://schemas.microsoft.com/office/drawing/2014/main" id="{A2744AD4-2D17-4A98-B83E-BA3821D32AFC}"/>
                </a:ext>
              </a:extLst>
            </p:cNvPr>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sp>
          <p:nvSpPr>
            <p:cNvPr id="11" name="Freeform 14">
              <a:extLst>
                <a:ext uri="{FF2B5EF4-FFF2-40B4-BE49-F238E27FC236}">
                  <a16:creationId xmlns:a16="http://schemas.microsoft.com/office/drawing/2014/main" id="{27F5C11D-4079-459F-B8CF-4E313C3BBF63}"/>
                </a:ext>
              </a:extLst>
            </p:cNvPr>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sp>
          <p:nvSpPr>
            <p:cNvPr id="12" name="Freeform 15">
              <a:extLst>
                <a:ext uri="{FF2B5EF4-FFF2-40B4-BE49-F238E27FC236}">
                  <a16:creationId xmlns:a16="http://schemas.microsoft.com/office/drawing/2014/main" id="{127DC4BD-BF71-42B8-97E4-A5D70EFDD02B}"/>
                </a:ext>
              </a:extLst>
            </p:cNvPr>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grpSp>
      <p:pic>
        <p:nvPicPr>
          <p:cNvPr id="84" name="Picture 8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311475" y="1018572"/>
            <a:ext cx="8113732" cy="5839429"/>
          </a:xfrm>
          <a:prstGeom prst="rect">
            <a:avLst/>
          </a:prstGeom>
          <a:noFill/>
          <a:ln>
            <a:noFill/>
          </a:ln>
        </p:spPr>
      </p:pic>
      <p:pic>
        <p:nvPicPr>
          <p:cNvPr id="14" name="Picture 13">
            <a:extLst>
              <a:ext uri="{FF2B5EF4-FFF2-40B4-BE49-F238E27FC236}">
                <a16:creationId xmlns:a16="http://schemas.microsoft.com/office/drawing/2014/main" id="{0D5777AC-D3F6-4BA0-BEA3-47A7321EFEE9}"/>
              </a:ext>
            </a:extLst>
          </p:cNvPr>
          <p:cNvPicPr>
            <a:picLocks noChangeAspect="1"/>
          </p:cNvPicPr>
          <p:nvPr userDrawn="1"/>
        </p:nvPicPr>
        <p:blipFill>
          <a:blip r:embed="rId3"/>
          <a:stretch>
            <a:fillRect/>
          </a:stretch>
        </p:blipFill>
        <p:spPr>
          <a:xfrm>
            <a:off x="2822879" y="574903"/>
            <a:ext cx="1992314" cy="297702"/>
          </a:xfrm>
          <a:prstGeom prst="rect">
            <a:avLst/>
          </a:prstGeom>
        </p:spPr>
      </p:pic>
      <p:cxnSp>
        <p:nvCxnSpPr>
          <p:cNvPr id="15" name="Straight Connector 14"/>
          <p:cNvCxnSpPr/>
          <p:nvPr userDrawn="1"/>
        </p:nvCxnSpPr>
        <p:spPr>
          <a:xfrm flipV="1">
            <a:off x="2680900" y="574903"/>
            <a:ext cx="0" cy="297702"/>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1224157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2_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solidFill>
                <a:prstClr val="black"/>
              </a:solidFill>
            </a:endParaRPr>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a:solidFill>
                  <a:prstClr val="black"/>
                </a:solidFill>
              </a:rPr>
              <a:t>Capgemini is a global leader in consulting, digital transformation, technology, and engineering services. The Group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A responsible and multicultural company of 265,000 people in nearly 50 countries, Capgemini’s purpose is to unleash human energy through technology for an inclusive and sustainable future. With Altran, the Group reported 2019 combined global revenues of €17 billion. </a:t>
            </a:r>
          </a:p>
          <a:p>
            <a:pPr algn="just"/>
            <a:endParaRPr lang="en-US" sz="900">
              <a:solidFill>
                <a:prstClr val="black"/>
              </a:solidFill>
            </a:endParaRP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rgbClr val="0070AD"/>
                </a:solidFill>
              </a:rPr>
              <a:t>About Capgemini</a:t>
            </a:r>
          </a:p>
        </p:txBody>
      </p:sp>
      <p:sp>
        <p:nvSpPr>
          <p:cNvPr id="16" name="Rectangle 15"/>
          <p:cNvSpPr/>
          <p:nvPr userDrawn="1"/>
        </p:nvSpPr>
        <p:spPr>
          <a:xfrm>
            <a:off x="6536184" y="4455060"/>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a:solidFill>
                  <a:prstClr val="black"/>
                </a:solidFill>
              </a:rPr>
              <a:t>Visit us at</a:t>
            </a:r>
          </a:p>
          <a:p>
            <a:pPr algn="just">
              <a:lnSpc>
                <a:spcPts val="1200"/>
              </a:lnSpc>
            </a:pPr>
            <a:r>
              <a:rPr lang="en-US" sz="1400">
                <a:solidFill>
                  <a:srgbClr val="12ABDB"/>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198620" cy="446276"/>
          </a:xfrm>
          <a:prstGeom prst="rect">
            <a:avLst/>
          </a:prstGeom>
        </p:spPr>
        <p:txBody>
          <a:bodyPr wrap="square" lIns="0" tIns="0" rIns="0" bIns="0" anchor="b" anchorCtr="0">
            <a:spAutoFit/>
          </a:bodyPr>
          <a:lstStyle/>
          <a:p>
            <a:pPr>
              <a:spcAft>
                <a:spcPts val="600"/>
              </a:spcAft>
            </a:pPr>
            <a:r>
              <a:rPr lang="en-US" sz="800">
                <a:solidFill>
                  <a:srgbClr val="FFFFFF"/>
                </a:solidFill>
                <a:cs typeface="Arial"/>
              </a:rPr>
              <a:t>This message contains information that may be privileged or confidential and is the property of the Capgemini Group.</a:t>
            </a:r>
          </a:p>
          <a:p>
            <a:pPr>
              <a:spcAft>
                <a:spcPts val="600"/>
              </a:spcAft>
            </a:pPr>
            <a:r>
              <a:rPr lang="en-US" sz="800">
                <a:solidFill>
                  <a:srgbClr val="FFFFFF"/>
                </a:solidFill>
                <a:cs typeface="Arial"/>
              </a:rPr>
              <a:t>Copyright</a:t>
            </a:r>
            <a:r>
              <a:rPr lang="en-US" sz="800" baseline="30000">
                <a:solidFill>
                  <a:srgbClr val="FFFFFF"/>
                </a:solidFill>
                <a:cs typeface="Arial"/>
              </a:rPr>
              <a:t>©</a:t>
            </a:r>
            <a:r>
              <a:rPr lang="en-US" sz="800">
                <a:solidFill>
                  <a:srgbClr val="FFFFFF"/>
                </a:solidFill>
                <a:cs typeface="Arial"/>
              </a:rPr>
              <a:t> 2020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24" name="ZoneTexte 23"/>
          <p:cNvSpPr txBox="1"/>
          <p:nvPr userDrawn="1"/>
        </p:nvSpPr>
        <p:spPr>
          <a:xfrm>
            <a:off x="419254" y="4381708"/>
            <a:ext cx="2519921" cy="276999"/>
          </a:xfrm>
          <a:prstGeom prst="rect">
            <a:avLst/>
          </a:prstGeom>
          <a:noFill/>
        </p:spPr>
        <p:txBody>
          <a:bodyPr wrap="none" lIns="0" rIns="0" rtlCol="0">
            <a:spAutoFit/>
          </a:bodyPr>
          <a:lstStyle/>
          <a:p>
            <a:r>
              <a:rPr lang="en-US" sz="1200" b="1">
                <a:solidFill>
                  <a:srgbClr val="FFFFFF"/>
                </a:solidFill>
              </a:rPr>
              <a:t>People matter, results count.</a:t>
            </a:r>
          </a:p>
        </p:txBody>
      </p:sp>
    </p:spTree>
    <p:extLst>
      <p:ext uri="{BB962C8B-B14F-4D97-AF65-F5344CB8AC3E}">
        <p14:creationId xmlns:p14="http://schemas.microsoft.com/office/powerpoint/2010/main" val="3370187679"/>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08723901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p:cSld name="Title Slide 1">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pic>
        <p:nvPicPr>
          <p:cNvPr id="6" name="Image 5" descr="Capgemini">
            <a:extLst>
              <a:ext uri="{FF2B5EF4-FFF2-40B4-BE49-F238E27FC236}">
                <a16:creationId xmlns:a16="http://schemas.microsoft.com/office/drawing/2014/main" id="{B290AA58-6524-4A50-851C-8EA6E75AA5E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55116" y="260648"/>
            <a:ext cx="3024000" cy="1226177"/>
          </a:xfrm>
          <a:prstGeom prst="rect">
            <a:avLst/>
          </a:prstGeom>
        </p:spPr>
      </p:pic>
    </p:spTree>
    <p:extLst>
      <p:ext uri="{BB962C8B-B14F-4D97-AF65-F5344CB8AC3E}">
        <p14:creationId xmlns:p14="http://schemas.microsoft.com/office/powerpoint/2010/main" val="2840207168"/>
      </p:ext>
    </p:extLst>
  </p:cSld>
  <p:clrMapOvr>
    <a:masterClrMapping/>
  </p:clrMapOvr>
  <p:transition spd="slow">
    <p:push dir="u"/>
  </p:transition>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 uri="{C183D7F6-B498-43B3-948B-1728B52AA6E4}">
                <adec:decorative xmlns:adec="http://schemas.microsoft.com/office/drawing/2017/decorative" val="1"/>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edit alt text and send </a:t>
            </a:r>
            <a:r>
              <a:rPr lang="de-DE" err="1"/>
              <a:t>to</a:t>
            </a:r>
            <a:r>
              <a:rPr lang="de-DE"/>
              <a:t> back</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pic>
        <p:nvPicPr>
          <p:cNvPr id="7" name="Image 6" descr="Capgemini">
            <a:extLst>
              <a:ext uri="{FF2B5EF4-FFF2-40B4-BE49-F238E27FC236}">
                <a16:creationId xmlns:a16="http://schemas.microsoft.com/office/drawing/2014/main" id="{873884F3-4760-488E-A25C-0D285C88AE3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8408" y="260648"/>
            <a:ext cx="3024000" cy="1226177"/>
          </a:xfrm>
          <a:prstGeom prst="rect">
            <a:avLst/>
          </a:prstGeom>
        </p:spPr>
      </p:pic>
    </p:spTree>
    <p:extLst>
      <p:ext uri="{BB962C8B-B14F-4D97-AF65-F5344CB8AC3E}">
        <p14:creationId xmlns:p14="http://schemas.microsoft.com/office/powerpoint/2010/main" val="126348580"/>
      </p:ext>
    </p:extLst>
  </p:cSld>
  <p:clrMapOvr>
    <a:masterClrMapping/>
  </p:clrMapOvr>
  <p:transition spd="slow">
    <p:push dir="u"/>
  </p:transition>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92814EB-708F-421C-9F3F-E5C7B767B62F}"/>
              </a:ext>
              <a:ext uri="{C183D7F6-B498-43B3-948B-1728B52AA6E4}">
                <adec:decorative xmlns:adec="http://schemas.microsoft.com/office/drawing/2017/decorative" val="1"/>
              </a:ext>
            </a:extLst>
          </p:cNvPr>
          <p:cNvSpPr>
            <a:spLocks noGrp="1"/>
          </p:cNvSpPr>
          <p:nvPr>
            <p:ph type="pic" sz="quarter" idx="10" hasCustomPrompt="1"/>
          </p:nvPr>
        </p:nvSpPr>
        <p:spPr>
          <a:xfrm>
            <a:off x="0" y="0"/>
            <a:ext cx="12192000" cy="68580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a:t>Insert picture, edit alt text and send </a:t>
            </a:r>
            <a:r>
              <a:rPr lang="de-DE" err="1"/>
              <a:t>to</a:t>
            </a:r>
            <a:r>
              <a:rPr lang="de-DE"/>
              <a:t> back</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3678123"/>
            <a:ext cx="11386134" cy="830997"/>
          </a:xfrm>
        </p:spPr>
        <p:txBody>
          <a:bodyPr wrap="square" lIns="36000" rIns="36000" bIns="0" anchor="b" anchorCtr="0">
            <a:spAutoFit/>
          </a:bodyPr>
          <a:lstStyle>
            <a:lvl1pPr algn="l">
              <a:lnSpc>
                <a:spcPct val="90000"/>
              </a:lnSpc>
              <a:defRPr sz="6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pic>
        <p:nvPicPr>
          <p:cNvPr id="6" name="Image 5" descr="Capgemini">
            <a:extLst>
              <a:ext uri="{FF2B5EF4-FFF2-40B4-BE49-F238E27FC236}">
                <a16:creationId xmlns:a16="http://schemas.microsoft.com/office/drawing/2014/main" id="{4E7913BD-2F2A-43EA-9355-0DD8C035B5E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14016" y="246471"/>
            <a:ext cx="3078000" cy="1248074"/>
          </a:xfrm>
          <a:prstGeom prst="rect">
            <a:avLst/>
          </a:prstGeom>
        </p:spPr>
      </p:pic>
    </p:spTree>
    <p:extLst>
      <p:ext uri="{BB962C8B-B14F-4D97-AF65-F5344CB8AC3E}">
        <p14:creationId xmlns:p14="http://schemas.microsoft.com/office/powerpoint/2010/main" val="2608744311"/>
      </p:ext>
    </p:extLst>
  </p:cSld>
  <p:clrMapOvr>
    <a:masterClrMapping/>
  </p:clrMapOvr>
  <p:transition spd="slow">
    <p:push dir="u"/>
  </p:transition>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2EBDB0D-AC97-40F0-9DD9-F997B00816C8}"/>
              </a:ext>
              <a:ext uri="{C183D7F6-B498-43B3-948B-1728B52AA6E4}">
                <adec:decorative xmlns:adec="http://schemas.microsoft.com/office/drawing/2017/decorative" val="1"/>
              </a:ext>
            </a:extLst>
          </p:cNvPr>
          <p:cNvSpPr/>
          <p:nvPr userDrawn="1"/>
        </p:nvSpPr>
        <p:spPr>
          <a:xfrm>
            <a:off x="-1" y="0"/>
            <a:ext cx="474929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2" name="Title 1">
            <a:extLst>
              <a:ext uri="{FF2B5EF4-FFF2-40B4-BE49-F238E27FC236}">
                <a16:creationId xmlns:a16="http://schemas.microsoft.com/office/drawing/2014/main" id="{4774F36F-3194-40C1-BFCB-D2FC8CB290B2}"/>
              </a:ext>
            </a:extLst>
          </p:cNvPr>
          <p:cNvSpPr>
            <a:spLocks noGrp="1"/>
          </p:cNvSpPr>
          <p:nvPr>
            <p:ph type="title"/>
          </p:nvPr>
        </p:nvSpPr>
        <p:spPr>
          <a:xfrm>
            <a:off x="404813" y="388188"/>
            <a:ext cx="4323035" cy="2392740"/>
          </a:xfrm>
        </p:spPr>
        <p:txBody>
          <a:bodyPr/>
          <a:lstStyle>
            <a:lvl1pPr>
              <a:defRPr sz="4000">
                <a:solidFill>
                  <a:schemeClr val="bg1"/>
                </a:solidFill>
              </a:defRPr>
            </a:lvl1pPr>
          </a:lstStyle>
          <a:p>
            <a:r>
              <a:rPr lang="en-US"/>
              <a:t>Click to edit Master title style</a:t>
            </a:r>
          </a:p>
        </p:txBody>
      </p:sp>
      <p:sp>
        <p:nvSpPr>
          <p:cNvPr id="5" name="Oval 20">
            <a:extLst>
              <a:ext uri="{FF2B5EF4-FFF2-40B4-BE49-F238E27FC236}">
                <a16:creationId xmlns:a16="http://schemas.microsoft.com/office/drawing/2014/main" id="{0B27F5C5-C656-4F2F-9EEE-B93F6E79E727}"/>
              </a:ext>
              <a:ext uri="{C183D7F6-B498-43B3-948B-1728B52AA6E4}">
                <adec:decorative xmlns:adec="http://schemas.microsoft.com/office/drawing/2017/decorative" val="1"/>
              </a:ext>
            </a:extLst>
          </p:cNvPr>
          <p:cNvSpPr/>
          <p:nvPr userDrawn="1"/>
        </p:nvSpPr>
        <p:spPr>
          <a:xfrm>
            <a:off x="5327637" y="71149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11B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Text Placeholder 4">
            <a:extLst>
              <a:ext uri="{FF2B5EF4-FFF2-40B4-BE49-F238E27FC236}">
                <a16:creationId xmlns:a16="http://schemas.microsoft.com/office/drawing/2014/main" id="{6C41C771-7ED2-45AF-884F-E0E275C6B347}"/>
              </a:ext>
            </a:extLst>
          </p:cNvPr>
          <p:cNvSpPr>
            <a:spLocks noGrp="1"/>
          </p:cNvSpPr>
          <p:nvPr>
            <p:ph type="body" sz="quarter" idx="35" hasCustomPrompt="1"/>
          </p:nvPr>
        </p:nvSpPr>
        <p:spPr>
          <a:xfrm>
            <a:off x="5498013" y="1040484"/>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6" name="Text Placeholder 4">
            <a:extLst>
              <a:ext uri="{FF2B5EF4-FFF2-40B4-BE49-F238E27FC236}">
                <a16:creationId xmlns:a16="http://schemas.microsoft.com/office/drawing/2014/main" id="{6A82ADF8-12C7-4D27-8457-7F3D1C93EB46}"/>
              </a:ext>
            </a:extLst>
          </p:cNvPr>
          <p:cNvSpPr>
            <a:spLocks noGrp="1"/>
          </p:cNvSpPr>
          <p:nvPr>
            <p:ph type="body" sz="quarter" idx="29" hasCustomPrompt="1"/>
          </p:nvPr>
        </p:nvSpPr>
        <p:spPr>
          <a:xfrm>
            <a:off x="6787432" y="518014"/>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7" name="Text Placeholder 7">
            <a:extLst>
              <a:ext uri="{FF2B5EF4-FFF2-40B4-BE49-F238E27FC236}">
                <a16:creationId xmlns:a16="http://schemas.microsoft.com/office/drawing/2014/main" id="{E18CF815-87D3-425A-8169-07DAC5996151}"/>
              </a:ext>
            </a:extLst>
          </p:cNvPr>
          <p:cNvSpPr>
            <a:spLocks noGrp="1"/>
          </p:cNvSpPr>
          <p:nvPr>
            <p:ph type="body" sz="quarter" idx="30" hasCustomPrompt="1"/>
          </p:nvPr>
        </p:nvSpPr>
        <p:spPr>
          <a:xfrm>
            <a:off x="6787433"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1"/>
            <a:r>
              <a:rPr lang="en-US"/>
              <a:t>Second level</a:t>
            </a:r>
          </a:p>
          <a:p>
            <a:pPr lvl="2"/>
            <a:r>
              <a:rPr lang="en-US"/>
              <a:t>Third level</a:t>
            </a:r>
          </a:p>
          <a:p>
            <a:pPr lvl="3"/>
            <a:r>
              <a:rPr lang="en-US"/>
              <a:t>Fourth level</a:t>
            </a:r>
          </a:p>
        </p:txBody>
      </p:sp>
      <p:sp>
        <p:nvSpPr>
          <p:cNvPr id="4" name="Oval 20">
            <a:extLst>
              <a:ext uri="{FF2B5EF4-FFF2-40B4-BE49-F238E27FC236}">
                <a16:creationId xmlns:a16="http://schemas.microsoft.com/office/drawing/2014/main" id="{71209714-A86B-492A-AC18-2DBD1D17EB98}"/>
              </a:ext>
              <a:ext uri="{C183D7F6-B498-43B3-948B-1728B52AA6E4}">
                <adec:decorative xmlns:adec="http://schemas.microsoft.com/office/drawing/2017/decorative" val="1"/>
              </a:ext>
            </a:extLst>
          </p:cNvPr>
          <p:cNvSpPr/>
          <p:nvPr userDrawn="1"/>
        </p:nvSpPr>
        <p:spPr>
          <a:xfrm>
            <a:off x="5327637" y="2656077"/>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590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Text Placeholder 4">
            <a:extLst>
              <a:ext uri="{FF2B5EF4-FFF2-40B4-BE49-F238E27FC236}">
                <a16:creationId xmlns:a16="http://schemas.microsoft.com/office/drawing/2014/main" id="{1CDF667B-1AA2-4981-B115-B40754E318E4}"/>
              </a:ext>
            </a:extLst>
          </p:cNvPr>
          <p:cNvSpPr>
            <a:spLocks noGrp="1"/>
          </p:cNvSpPr>
          <p:nvPr>
            <p:ph type="body" sz="quarter" idx="36" hasCustomPrompt="1"/>
          </p:nvPr>
        </p:nvSpPr>
        <p:spPr>
          <a:xfrm>
            <a:off x="5498013" y="299622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10" name="Text Placeholder 4">
            <a:extLst>
              <a:ext uri="{FF2B5EF4-FFF2-40B4-BE49-F238E27FC236}">
                <a16:creationId xmlns:a16="http://schemas.microsoft.com/office/drawing/2014/main" id="{949B542E-285C-4837-B671-696E4DC001E9}"/>
              </a:ext>
            </a:extLst>
          </p:cNvPr>
          <p:cNvSpPr>
            <a:spLocks noGrp="1"/>
          </p:cNvSpPr>
          <p:nvPr>
            <p:ph type="body" sz="quarter" idx="33" hasCustomPrompt="1"/>
          </p:nvPr>
        </p:nvSpPr>
        <p:spPr>
          <a:xfrm>
            <a:off x="6787432" y="2563381"/>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1" name="Text Placeholder 7">
            <a:extLst>
              <a:ext uri="{FF2B5EF4-FFF2-40B4-BE49-F238E27FC236}">
                <a16:creationId xmlns:a16="http://schemas.microsoft.com/office/drawing/2014/main" id="{09A45E63-A970-497F-9E53-8D389A8457FB}"/>
              </a:ext>
            </a:extLst>
          </p:cNvPr>
          <p:cNvSpPr>
            <a:spLocks noGrp="1"/>
          </p:cNvSpPr>
          <p:nvPr>
            <p:ph type="body" sz="quarter" idx="34" hasCustomPrompt="1"/>
          </p:nvPr>
        </p:nvSpPr>
        <p:spPr>
          <a:xfrm>
            <a:off x="6787433"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1"/>
            <a:r>
              <a:rPr lang="en-US"/>
              <a:t>Second level</a:t>
            </a:r>
          </a:p>
          <a:p>
            <a:pPr lvl="2"/>
            <a:r>
              <a:rPr lang="en-US"/>
              <a:t>Third level</a:t>
            </a:r>
          </a:p>
          <a:p>
            <a:pPr lvl="3"/>
            <a:r>
              <a:rPr lang="en-US"/>
              <a:t>Fourth level</a:t>
            </a:r>
          </a:p>
        </p:txBody>
      </p:sp>
      <p:sp>
        <p:nvSpPr>
          <p:cNvPr id="3" name="Oval 20">
            <a:extLst>
              <a:ext uri="{FF2B5EF4-FFF2-40B4-BE49-F238E27FC236}">
                <a16:creationId xmlns:a16="http://schemas.microsoft.com/office/drawing/2014/main" id="{F88C0E2C-E612-44EC-9013-AD68C65B671C}"/>
              </a:ext>
              <a:ext uri="{C183D7F6-B498-43B3-948B-1728B52AA6E4}">
                <adec:decorative xmlns:adec="http://schemas.microsoft.com/office/drawing/2017/decorative" val="1"/>
              </a:ext>
            </a:extLst>
          </p:cNvPr>
          <p:cNvSpPr/>
          <p:nvPr userDrawn="1"/>
        </p:nvSpPr>
        <p:spPr>
          <a:xfrm>
            <a:off x="5327637" y="478039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A60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Text Placeholder 4">
            <a:extLst>
              <a:ext uri="{FF2B5EF4-FFF2-40B4-BE49-F238E27FC236}">
                <a16:creationId xmlns:a16="http://schemas.microsoft.com/office/drawing/2014/main" id="{A411BF5D-81E9-4AC1-AE6D-53DC26B2ECA6}"/>
              </a:ext>
            </a:extLst>
          </p:cNvPr>
          <p:cNvSpPr>
            <a:spLocks noGrp="1"/>
          </p:cNvSpPr>
          <p:nvPr>
            <p:ph type="body" sz="quarter" idx="37" hasCustomPrompt="1"/>
          </p:nvPr>
        </p:nvSpPr>
        <p:spPr>
          <a:xfrm>
            <a:off x="5498013" y="510784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8" name="Text Placeholder 4">
            <a:extLst>
              <a:ext uri="{FF2B5EF4-FFF2-40B4-BE49-F238E27FC236}">
                <a16:creationId xmlns:a16="http://schemas.microsoft.com/office/drawing/2014/main" id="{42676D57-7318-4038-8625-151D4DD857E7}"/>
              </a:ext>
            </a:extLst>
          </p:cNvPr>
          <p:cNvSpPr>
            <a:spLocks noGrp="1"/>
          </p:cNvSpPr>
          <p:nvPr>
            <p:ph type="body" sz="quarter" idx="31" hasCustomPrompt="1"/>
          </p:nvPr>
        </p:nvSpPr>
        <p:spPr>
          <a:xfrm>
            <a:off x="6787432" y="4647262"/>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9" name="Text Placeholder 7">
            <a:extLst>
              <a:ext uri="{FF2B5EF4-FFF2-40B4-BE49-F238E27FC236}">
                <a16:creationId xmlns:a16="http://schemas.microsoft.com/office/drawing/2014/main" id="{9AB98D4C-7485-4468-A517-B5B92B48F38A}"/>
              </a:ext>
            </a:extLst>
          </p:cNvPr>
          <p:cNvSpPr>
            <a:spLocks noGrp="1"/>
          </p:cNvSpPr>
          <p:nvPr>
            <p:ph type="body" sz="quarter" idx="32" hasCustomPrompt="1"/>
          </p:nvPr>
        </p:nvSpPr>
        <p:spPr>
          <a:xfrm>
            <a:off x="6787433"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603733018"/>
      </p:ext>
    </p:extLst>
  </p:cSld>
  <p:clrMapOvr>
    <a:masterClrMapping/>
  </p:clrMapOvr>
  <p:transition spd="slow">
    <p:push dir="u"/>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11" name="Title 1"/>
          <p:cNvSpPr>
            <a:spLocks noGrp="1"/>
          </p:cNvSpPr>
          <p:nvPr>
            <p:ph type="title"/>
          </p:nvPr>
        </p:nvSpPr>
        <p:spPr>
          <a:xfrm>
            <a:off x="227349" y="0"/>
            <a:ext cx="11125236" cy="1104900"/>
          </a:xfrm>
          <a:prstGeom prst="rect">
            <a:avLst/>
          </a:prstGeom>
        </p:spPr>
        <p:txBody>
          <a:bodyPr/>
          <a:lstStyle/>
          <a:p>
            <a:r>
              <a:rPr lang="fr-FR"/>
              <a:t>Modifiez le style du titre</a:t>
            </a:r>
            <a:endParaRPr lang="en-GB"/>
          </a:p>
        </p:txBody>
      </p:sp>
      <p:sp>
        <p:nvSpPr>
          <p:cNvPr id="20" name="Picture Placeholder 47">
            <a:extLst>
              <a:ext uri="{FF2B5EF4-FFF2-40B4-BE49-F238E27FC236}">
                <a16:creationId xmlns:a16="http://schemas.microsoft.com/office/drawing/2014/main" id="{51CA337D-4B25-44C1-847A-AC0D74277B60}"/>
              </a:ext>
              <a:ext uri="{C183D7F6-B498-43B3-948B-1728B52AA6E4}">
                <adec:decorative xmlns:adec="http://schemas.microsoft.com/office/drawing/2017/decorative" val="1"/>
              </a:ext>
            </a:extLst>
          </p:cNvPr>
          <p:cNvSpPr>
            <a:spLocks noGrp="1"/>
          </p:cNvSpPr>
          <p:nvPr>
            <p:ph type="pic" sz="quarter" idx="19"/>
          </p:nvPr>
        </p:nvSpPr>
        <p:spPr>
          <a:xfrm>
            <a:off x="0" y="1192909"/>
            <a:ext cx="5591944" cy="5260428"/>
          </a:xfrm>
          <a:prstGeom prst="rect">
            <a:avLst/>
          </a:prstGeom>
        </p:spPr>
        <p:txBody>
          <a:bodyPr anchor="ctr"/>
          <a:lstStyle>
            <a:lvl1pPr algn="ctr">
              <a:defRPr/>
            </a:lvl1pPr>
          </a:lstStyle>
          <a:p>
            <a:r>
              <a:rPr lang="fr-FR"/>
              <a:t>Cliquez sur l'icône pour ajouter une image</a:t>
            </a:r>
            <a:endParaRPr lang="pt-PT"/>
          </a:p>
        </p:txBody>
      </p:sp>
      <p:sp>
        <p:nvSpPr>
          <p:cNvPr id="12"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6600059" y="11929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3"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6600059" y="1865049"/>
            <a:ext cx="5007742"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4"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6600059" y="25371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5"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6600059" y="320932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6"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6600059" y="388146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7"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6600059" y="45536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8"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6600059" y="522574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9"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6600059" y="58978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Tree>
    <p:extLst>
      <p:ext uri="{BB962C8B-B14F-4D97-AF65-F5344CB8AC3E}">
        <p14:creationId xmlns:p14="http://schemas.microsoft.com/office/powerpoint/2010/main" val="2774843616"/>
      </p:ext>
    </p:extLst>
  </p:cSld>
  <p:clrMapOvr>
    <a:masterClrMapping/>
  </p:clrMapOvr>
  <p:transition spd="slow">
    <p:push dir="u"/>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20978420"/>
      </p:ext>
    </p:extLst>
  </p:cSld>
  <p:clrMapOvr>
    <a:masterClrMapping/>
  </p:clrMapOvr>
  <p:transition spd="slow">
    <p:push dir="u"/>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itle, subtitle and content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0461805"/>
      </p:ext>
    </p:extLst>
  </p:cSld>
  <p:clrMapOvr>
    <a:masterClrMapping/>
  </p:clrMapOvr>
  <p:transition spd="slow">
    <p:push dir="u"/>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cSld name="Large titl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57200" y="4958425"/>
            <a:ext cx="11277600" cy="822325"/>
          </a:xfrm>
        </p:spPr>
        <p:txBody>
          <a:bodyPr lIns="36000" tIns="144000">
            <a:normAutofit/>
          </a:bodyPr>
          <a:lstStyle>
            <a:lvl1pPr marL="0" indent="0" algn="l">
              <a:buNone/>
              <a:defRPr sz="20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7" name="Text Placeholder 6">
            <a:extLst>
              <a:ext uri="{FF2B5EF4-FFF2-40B4-BE49-F238E27FC236}">
                <a16:creationId xmlns:a16="http://schemas.microsoft.com/office/drawing/2014/main" id="{79EA84EC-0E0C-41F6-8286-BC5A87DC6C7B}"/>
              </a:ext>
            </a:extLst>
          </p:cNvPr>
          <p:cNvSpPr>
            <a:spLocks noGrp="1"/>
          </p:cNvSpPr>
          <p:nvPr>
            <p:ph type="body" sz="quarter" idx="10" hasCustomPrompt="1"/>
          </p:nvPr>
        </p:nvSpPr>
        <p:spPr>
          <a:xfrm>
            <a:off x="457200" y="2135545"/>
            <a:ext cx="11277600" cy="2585323"/>
          </a:xfrm>
        </p:spPr>
        <p:txBody>
          <a:bodyPr anchor="ctr" anchorCtr="0">
            <a:spAutoFit/>
          </a:bodyPr>
          <a:lstStyle>
            <a:lvl1pPr marL="0" indent="0" algn="l">
              <a:lnSpc>
                <a:spcPct val="70000"/>
              </a:lnSpc>
              <a:spcAft>
                <a:spcPts val="0"/>
              </a:spcAft>
              <a:buFontTx/>
              <a:buNone/>
              <a:defRPr sz="8000" b="1" cap="all"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liquez pour modifier les styles du texte du masque</a:t>
            </a:r>
          </a:p>
        </p:txBody>
      </p:sp>
      <p:grpSp>
        <p:nvGrpSpPr>
          <p:cNvPr id="6" name="Group 5">
            <a:extLst>
              <a:ext uri="{FF2B5EF4-FFF2-40B4-BE49-F238E27FC236}">
                <a16:creationId xmlns:a16="http://schemas.microsoft.com/office/drawing/2014/main" id="{53E1ECB5-DB51-4283-B8B9-FBB99B30DDDA}"/>
              </a:ext>
            </a:extLst>
          </p:cNvPr>
          <p:cNvGrpSpPr>
            <a:grpSpLocks noChangeAspect="1"/>
          </p:cNvGrpSpPr>
          <p:nvPr userDrawn="1"/>
        </p:nvGrpSpPr>
        <p:grpSpPr>
          <a:xfrm>
            <a:off x="516023" y="622911"/>
            <a:ext cx="2231297" cy="501650"/>
            <a:chOff x="9550400" y="612775"/>
            <a:chExt cx="2231297" cy="501650"/>
          </a:xfrm>
        </p:grpSpPr>
        <p:sp>
          <p:nvSpPr>
            <p:cNvPr id="8" name="Freeform: Shape 7">
              <a:extLst>
                <a:ext uri="{FF2B5EF4-FFF2-40B4-BE49-F238E27FC236}">
                  <a16:creationId xmlns:a16="http://schemas.microsoft.com/office/drawing/2014/main" id="{648307B4-0823-4CCD-9A0B-FC8313B6A1CE}"/>
                </a:ext>
              </a:extLst>
            </p:cNvPr>
            <p:cNvSpPr/>
            <p:nvPr/>
          </p:nvSpPr>
          <p:spPr>
            <a:xfrm>
              <a:off x="11517270" y="764033"/>
              <a:ext cx="261161" cy="212194"/>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9" name="Freeform: Shape 8">
              <a:extLst>
                <a:ext uri="{FF2B5EF4-FFF2-40B4-BE49-F238E27FC236}">
                  <a16:creationId xmlns:a16="http://schemas.microsoft.com/office/drawing/2014/main" id="{0EF37526-68C2-4CC7-BFA8-D9A1ECDD5F86}"/>
                </a:ext>
              </a:extLst>
            </p:cNvPr>
            <p:cNvSpPr/>
            <p:nvPr/>
          </p:nvSpPr>
          <p:spPr>
            <a:xfrm>
              <a:off x="9550400" y="619305"/>
              <a:ext cx="1811806" cy="495120"/>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0" name="Freeform: Shape 9">
              <a:extLst>
                <a:ext uri="{FF2B5EF4-FFF2-40B4-BE49-F238E27FC236}">
                  <a16:creationId xmlns:a16="http://schemas.microsoft.com/office/drawing/2014/main" id="{031D688A-C2B9-40DF-8BDB-7397CB9DF4C1}"/>
                </a:ext>
              </a:extLst>
            </p:cNvPr>
            <p:cNvSpPr/>
            <p:nvPr/>
          </p:nvSpPr>
          <p:spPr>
            <a:xfrm>
              <a:off x="10915493" y="643771"/>
              <a:ext cx="54409" cy="59850"/>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1" name="Freeform: Shape 10">
              <a:extLst>
                <a:ext uri="{FF2B5EF4-FFF2-40B4-BE49-F238E27FC236}">
                  <a16:creationId xmlns:a16="http://schemas.microsoft.com/office/drawing/2014/main" id="{808CDC8B-4E52-45D7-922E-07333CE529A6}"/>
                </a:ext>
              </a:extLst>
            </p:cNvPr>
            <p:cNvSpPr/>
            <p:nvPr/>
          </p:nvSpPr>
          <p:spPr>
            <a:xfrm>
              <a:off x="11270254" y="654106"/>
              <a:ext cx="54409" cy="54409"/>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2" name="Freeform: Shape 11">
              <a:extLst>
                <a:ext uri="{FF2B5EF4-FFF2-40B4-BE49-F238E27FC236}">
                  <a16:creationId xmlns:a16="http://schemas.microsoft.com/office/drawing/2014/main" id="{8515A298-0196-4231-B123-8DDB35B79DA6}"/>
                </a:ext>
              </a:extLst>
            </p:cNvPr>
            <p:cNvSpPr/>
            <p:nvPr/>
          </p:nvSpPr>
          <p:spPr>
            <a:xfrm>
              <a:off x="11384515" y="612775"/>
              <a:ext cx="397182" cy="331893"/>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Tree>
    <p:extLst>
      <p:ext uri="{BB962C8B-B14F-4D97-AF65-F5344CB8AC3E}">
        <p14:creationId xmlns:p14="http://schemas.microsoft.com/office/powerpoint/2010/main" val="3731988528"/>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Tree>
    <p:extLst>
      <p:ext uri="{BB962C8B-B14F-4D97-AF65-F5344CB8AC3E}">
        <p14:creationId xmlns:p14="http://schemas.microsoft.com/office/powerpoint/2010/main" val="404979301"/>
      </p:ext>
    </p:extLst>
  </p:cSld>
  <p:clrMapOvr>
    <a:masterClrMapping/>
  </p:clrMapOvr>
  <p:transition spd="slow">
    <p:push dir="u"/>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2957807"/>
      </p:ext>
    </p:extLst>
  </p:cSld>
  <p:clrMapOvr>
    <a:masterClrMapping/>
  </p:clrMapOvr>
  <p:transition spd="slow">
    <p:push dir="u"/>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Content 3 columns 1">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33095017"/>
      </p:ext>
    </p:extLst>
  </p:cSld>
  <p:clrMapOvr>
    <a:masterClrMapping/>
  </p:clrMapOvr>
  <p:transition spd="slow">
    <p:push dir="u"/>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ontent 3 columns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a:p>
        </p:txBody>
      </p:sp>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336B7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336B7D"/>
              </a:buClr>
              <a:defRPr sz="1400"/>
            </a:lvl2pPr>
            <a:lvl3pPr>
              <a:lnSpc>
                <a:spcPct val="100000"/>
              </a:lnSpc>
              <a:spcBef>
                <a:spcPts val="0"/>
              </a:spcBef>
              <a:buClr>
                <a:srgbClr val="336B7D"/>
              </a:buClr>
              <a:defRPr sz="1400"/>
            </a:lvl3pPr>
            <a:lvl4pPr>
              <a:lnSpc>
                <a:spcPct val="100000"/>
              </a:lnSpc>
              <a:spcBef>
                <a:spcPts val="0"/>
              </a:spcBef>
              <a:buClr>
                <a:srgbClr val="336B7D"/>
              </a:buClr>
              <a:defRPr sz="1400"/>
            </a:lvl4pPr>
            <a:lvl5pPr>
              <a:lnSpc>
                <a:spcPct val="100000"/>
              </a:lnSpc>
              <a:spcBef>
                <a:spcPts val="0"/>
              </a:spcBef>
              <a:buClr>
                <a:srgbClr val="336B7D"/>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57616794"/>
      </p:ext>
    </p:extLst>
  </p:cSld>
  <p:clrMapOvr>
    <a:masterClrMapping/>
  </p:clrMapOvr>
  <p:transition spd="slow">
    <p:push dir="u"/>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Onl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562971667"/>
      </p:ext>
    </p:extLst>
  </p:cSld>
  <p:clrMapOvr>
    <a:masterClrMapping/>
  </p:clrMapOvr>
  <p:transition spd="slow">
    <p:push dir="u"/>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itle and Content dark grey">
    <p:bg>
      <p:bgPr>
        <a:solidFill>
          <a:schemeClr val="accent4"/>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a:p>
        </p:txBody>
      </p:sp>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26947388"/>
      </p:ext>
    </p:extLst>
  </p:cSld>
  <p:clrMapOvr>
    <a:masterClrMapping/>
  </p:clrMapOvr>
  <p:transition spd="slow">
    <p:push dir="u"/>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Title and content light Grey">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a:p>
        </p:txBody>
      </p:sp>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87028560"/>
      </p:ext>
    </p:extLst>
  </p:cSld>
  <p:clrMapOvr>
    <a:masterClrMapping/>
  </p:clrMapOvr>
  <p:transition spd="slow">
    <p:push dir="u"/>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Section Break dark">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2745785074"/>
      </p:ext>
    </p:extLst>
  </p:cSld>
  <p:clrMapOvr>
    <a:masterClrMapping/>
  </p:clrMapOvr>
  <p:transition spd="slow">
    <p:push dir="u"/>
  </p:transition>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445776"/>
      </p:ext>
    </p:extLst>
  </p:cSld>
  <p:clrMapOvr>
    <a:masterClrMapping/>
  </p:clrMapOvr>
  <p:transition spd="slow">
    <p:push dir="u"/>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 uri="{C183D7F6-B498-43B3-948B-1728B52AA6E4}">
                <adec:decorative xmlns:adec="http://schemas.microsoft.com/office/drawing/2017/decorative" val="1"/>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1"/>
                </a:solidFill>
              </a:defRPr>
            </a:lvl1pPr>
          </a:lstStyle>
          <a:p>
            <a:r>
              <a:rPr lang="de-DE"/>
              <a:t>Insert picture, edit alt text and send </a:t>
            </a:r>
            <a:r>
              <a:rPr lang="de-DE" err="1"/>
              <a:t>to</a:t>
            </a:r>
            <a:r>
              <a:rPr lang="de-DE"/>
              <a:t> back</a:t>
            </a:r>
          </a:p>
        </p:txBody>
      </p:sp>
    </p:spTree>
    <p:extLst>
      <p:ext uri="{BB962C8B-B14F-4D97-AF65-F5344CB8AC3E}">
        <p14:creationId xmlns:p14="http://schemas.microsoft.com/office/powerpoint/2010/main" val="9914528"/>
      </p:ext>
    </p:extLst>
  </p:cSld>
  <p:clrMapOvr>
    <a:masterClrMapping/>
  </p:clrMapOvr>
  <p:transition spd="slow">
    <p:push dir="u"/>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Title Slide 1">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userDrawn="1"/>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grpSp>
        <p:nvGrpSpPr>
          <p:cNvPr id="7" name="Group 6">
            <a:extLst>
              <a:ext uri="{FF2B5EF4-FFF2-40B4-BE49-F238E27FC236}">
                <a16:creationId xmlns:a16="http://schemas.microsoft.com/office/drawing/2014/main" id="{8EDD86A9-A101-4431-BC7F-D7A613B745EB}"/>
              </a:ext>
            </a:extLst>
          </p:cNvPr>
          <p:cNvGrpSpPr>
            <a:grpSpLocks noChangeAspect="1"/>
          </p:cNvGrpSpPr>
          <p:nvPr userDrawn="1"/>
        </p:nvGrpSpPr>
        <p:grpSpPr>
          <a:xfrm>
            <a:off x="9422540" y="611982"/>
            <a:ext cx="2267015" cy="509586"/>
            <a:chOff x="9550400" y="612775"/>
            <a:chExt cx="2231297" cy="501650"/>
          </a:xfrm>
        </p:grpSpPr>
        <p:sp>
          <p:nvSpPr>
            <p:cNvPr id="8" name="Freeform: Shape 7">
              <a:extLst>
                <a:ext uri="{FF2B5EF4-FFF2-40B4-BE49-F238E27FC236}">
                  <a16:creationId xmlns:a16="http://schemas.microsoft.com/office/drawing/2014/main" id="{92E5232F-44F9-4DA7-8CAF-37E7E772B19E}"/>
                </a:ext>
              </a:extLst>
            </p:cNvPr>
            <p:cNvSpPr/>
            <p:nvPr/>
          </p:nvSpPr>
          <p:spPr>
            <a:xfrm>
              <a:off x="11517270" y="764033"/>
              <a:ext cx="261161" cy="212194"/>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9" name="Freeform: Shape 8">
              <a:extLst>
                <a:ext uri="{FF2B5EF4-FFF2-40B4-BE49-F238E27FC236}">
                  <a16:creationId xmlns:a16="http://schemas.microsoft.com/office/drawing/2014/main" id="{ED6443D4-9252-4F48-B3B1-DE1F07A5D421}"/>
                </a:ext>
              </a:extLst>
            </p:cNvPr>
            <p:cNvSpPr/>
            <p:nvPr/>
          </p:nvSpPr>
          <p:spPr>
            <a:xfrm>
              <a:off x="9550400" y="619305"/>
              <a:ext cx="1811806" cy="495120"/>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0" name="Freeform: Shape 9">
              <a:extLst>
                <a:ext uri="{FF2B5EF4-FFF2-40B4-BE49-F238E27FC236}">
                  <a16:creationId xmlns:a16="http://schemas.microsoft.com/office/drawing/2014/main" id="{00D6E549-1EDB-4087-A87E-246AD0B86307}"/>
                </a:ext>
              </a:extLst>
            </p:cNvPr>
            <p:cNvSpPr/>
            <p:nvPr/>
          </p:nvSpPr>
          <p:spPr>
            <a:xfrm>
              <a:off x="10915493" y="643771"/>
              <a:ext cx="54409" cy="59850"/>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1" name="Freeform: Shape 10">
              <a:extLst>
                <a:ext uri="{FF2B5EF4-FFF2-40B4-BE49-F238E27FC236}">
                  <a16:creationId xmlns:a16="http://schemas.microsoft.com/office/drawing/2014/main" id="{9B59D2B6-7CA0-4DD1-ACF9-FE9B371E6A4B}"/>
                </a:ext>
              </a:extLst>
            </p:cNvPr>
            <p:cNvSpPr/>
            <p:nvPr/>
          </p:nvSpPr>
          <p:spPr>
            <a:xfrm>
              <a:off x="11270254" y="654106"/>
              <a:ext cx="54409" cy="54409"/>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2" name="Freeform: Shape 11">
              <a:extLst>
                <a:ext uri="{FF2B5EF4-FFF2-40B4-BE49-F238E27FC236}">
                  <a16:creationId xmlns:a16="http://schemas.microsoft.com/office/drawing/2014/main" id="{D752C13A-0707-4DB7-BEE5-11C70CC4104C}"/>
                </a:ext>
              </a:extLst>
            </p:cNvPr>
            <p:cNvSpPr/>
            <p:nvPr/>
          </p:nvSpPr>
          <p:spPr>
            <a:xfrm>
              <a:off x="11384515" y="612775"/>
              <a:ext cx="397182" cy="331893"/>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Tree>
    <p:extLst>
      <p:ext uri="{BB962C8B-B14F-4D97-AF65-F5344CB8AC3E}">
        <p14:creationId xmlns:p14="http://schemas.microsoft.com/office/powerpoint/2010/main" val="2235624915"/>
      </p:ext>
    </p:extLst>
  </p:cSld>
  <p:clrMapOvr>
    <a:masterClrMapping/>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 uri="{C183D7F6-B498-43B3-948B-1728B52AA6E4}">
                <adec:decorative xmlns:adec="http://schemas.microsoft.com/office/drawing/2017/decorative" val="1"/>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a:t>Insert picture, add alt text and send </a:t>
            </a:r>
            <a:r>
              <a:rPr lang="de-DE" err="1"/>
              <a:t>to</a:t>
            </a:r>
            <a:r>
              <a:rPr lang="de-DE"/>
              <a:t> back</a:t>
            </a:r>
          </a:p>
        </p:txBody>
      </p:sp>
    </p:spTree>
    <p:extLst>
      <p:ext uri="{BB962C8B-B14F-4D97-AF65-F5344CB8AC3E}">
        <p14:creationId xmlns:p14="http://schemas.microsoft.com/office/powerpoint/2010/main" val="2213358327"/>
      </p:ext>
    </p:extLst>
  </p:cSld>
  <p:clrMapOvr>
    <a:masterClrMapping/>
  </p:clrMapOvr>
  <p:transition spd="slow">
    <p:push dir="u"/>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3" name="Image 12" descr="Capgemini">
            <a:extLst>
              <a:ext uri="{FF2B5EF4-FFF2-40B4-BE49-F238E27FC236}">
                <a16:creationId xmlns:a16="http://schemas.microsoft.com/office/drawing/2014/main" id="{A0C8CF1B-496A-4A5B-A698-8344534684E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pic>
        <p:nvPicPr>
          <p:cNvPr id="28" name="Image 27">
            <a:extLst>
              <a:ext uri="{FF2B5EF4-FFF2-40B4-BE49-F238E27FC236}">
                <a16:creationId xmlns:a16="http://schemas.microsoft.com/office/drawing/2014/main" id="{CFD4BD67-7A96-4F02-AD8B-7157189FD651}"/>
              </a:ext>
              <a:ext uri="{C183D7F6-B498-43B3-948B-1728B52AA6E4}">
                <adec:decorative xmlns:adec="http://schemas.microsoft.com/office/drawing/2017/decorative" val="1"/>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6350" t="23693" r="10370" b="21576"/>
          <a:stretch/>
        </p:blipFill>
        <p:spPr>
          <a:xfrm rot="1808368" flipV="1">
            <a:off x="4403152" y="337083"/>
            <a:ext cx="8831279" cy="4103533"/>
          </a:xfrm>
          <a:prstGeom prst="rect">
            <a:avLst/>
          </a:prstGeom>
        </p:spPr>
      </p:pic>
      <p:pic>
        <p:nvPicPr>
          <p:cNvPr id="21" name="Picture 7" descr="facebook">
            <a:hlinkClick r:id="rId4"/>
          </p:cNvPr>
          <p:cNvPicPr>
            <a:picLocks noChangeAspect="1" noChangeArrowheads="1"/>
          </p:cNvPicPr>
          <p:nvPr/>
        </p:nvPicPr>
        <p:blipFill>
          <a:blip r:embed="rId5" cstate="print"/>
          <a:srcRect/>
          <a:stretch>
            <a:fillRect/>
          </a:stretch>
        </p:blipFill>
        <p:spPr bwMode="auto">
          <a:xfrm>
            <a:off x="426720" y="4968013"/>
            <a:ext cx="333195" cy="333195"/>
          </a:xfrm>
          <a:prstGeom prst="rect">
            <a:avLst/>
          </a:prstGeom>
          <a:noFill/>
        </p:spPr>
      </p:pic>
      <p:pic>
        <p:nvPicPr>
          <p:cNvPr id="17" name="Picture 2" descr="LinkedIn">
            <a:hlinkClick r:id="rId6"/>
          </p:cNvPr>
          <p:cNvPicPr>
            <a:picLocks noChangeAspect="1" noChangeArrowheads="1"/>
          </p:cNvPicPr>
          <p:nvPr/>
        </p:nvPicPr>
        <p:blipFill>
          <a:blip r:embed="rId7" cstate="print"/>
          <a:srcRect/>
          <a:stretch>
            <a:fillRect/>
          </a:stretch>
        </p:blipFill>
        <p:spPr bwMode="auto">
          <a:xfrm>
            <a:off x="810097" y="4968013"/>
            <a:ext cx="333195" cy="333195"/>
          </a:xfrm>
          <a:prstGeom prst="rect">
            <a:avLst/>
          </a:prstGeom>
          <a:noFill/>
        </p:spPr>
      </p:pic>
      <p:pic>
        <p:nvPicPr>
          <p:cNvPr id="18" name="Picture 4" descr="SlideShare">
            <a:hlinkClick r:id="rId8"/>
          </p:cNvPr>
          <p:cNvPicPr>
            <a:picLocks noChangeAspect="1" noChangeArrowheads="1"/>
          </p:cNvPicPr>
          <p:nvPr/>
        </p:nvPicPr>
        <p:blipFill>
          <a:blip r:embed="rId9" cstate="print"/>
          <a:srcRect/>
          <a:stretch>
            <a:fillRect/>
          </a:stretch>
        </p:blipFill>
        <p:spPr bwMode="auto">
          <a:xfrm>
            <a:off x="1193474" y="4968013"/>
            <a:ext cx="333195" cy="333195"/>
          </a:xfrm>
          <a:prstGeom prst="rect">
            <a:avLst/>
          </a:prstGeom>
          <a:noFill/>
        </p:spPr>
      </p:pic>
      <p:pic>
        <p:nvPicPr>
          <p:cNvPr id="19" name="Picture 5" descr="Twitter">
            <a:hlinkClick r:id="rId10"/>
          </p:cNvPr>
          <p:cNvPicPr>
            <a:picLocks noChangeAspect="1" noChangeArrowheads="1"/>
          </p:cNvPicPr>
          <p:nvPr/>
        </p:nvPicPr>
        <p:blipFill>
          <a:blip r:embed="rId11" cstate="print"/>
          <a:srcRect/>
          <a:stretch>
            <a:fillRect/>
          </a:stretch>
        </p:blipFill>
        <p:spPr bwMode="auto">
          <a:xfrm>
            <a:off x="1576851" y="4968013"/>
            <a:ext cx="333195" cy="333195"/>
          </a:xfrm>
          <a:prstGeom prst="rect">
            <a:avLst/>
          </a:prstGeom>
          <a:noFill/>
        </p:spPr>
      </p:pic>
      <p:pic>
        <p:nvPicPr>
          <p:cNvPr id="20" name="Picture 6" descr="YouTube">
            <a:hlinkClick r:id="rId12"/>
          </p:cNvPr>
          <p:cNvPicPr>
            <a:picLocks noChangeAspect="1" noChangeArrowheads="1"/>
          </p:cNvPicPr>
          <p:nvPr userDrawn="1"/>
        </p:nvPicPr>
        <p:blipFill>
          <a:blip r:embed="rId13" cstate="print"/>
          <a:srcRect/>
          <a:stretch>
            <a:fillRect/>
          </a:stretch>
        </p:blipFill>
        <p:spPr bwMode="auto">
          <a:xfrm>
            <a:off x="1960227"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3 Capgemini. All rights reserved.</a:t>
            </a:r>
          </a:p>
        </p:txBody>
      </p:sp>
    </p:spTree>
    <p:extLst>
      <p:ext uri="{BB962C8B-B14F-4D97-AF65-F5344CB8AC3E}">
        <p14:creationId xmlns:p14="http://schemas.microsoft.com/office/powerpoint/2010/main" val="900767197"/>
      </p:ext>
    </p:extLst>
  </p:cSld>
  <p:clrMapOvr>
    <a:masterClrMapping/>
  </p:clrMapOvr>
  <p:transition spd="slow">
    <p:push dir="u"/>
  </p:transition>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type="blank" preserve="1">
  <p:cSld name="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32214" y="1295400"/>
            <a:ext cx="9702386" cy="6043284"/>
          </a:xfrm>
          <a:prstGeom prst="rect">
            <a:avLst/>
          </a:prstGeom>
        </p:spPr>
      </p:pic>
      <p:pic>
        <p:nvPicPr>
          <p:cNvPr id="22" name="Picture 7" descr="facebook">
            <a:hlinkClick r:id="rId3"/>
            <a:extLst>
              <a:ext uri="{FF2B5EF4-FFF2-40B4-BE49-F238E27FC236}">
                <a16:creationId xmlns:a16="http://schemas.microsoft.com/office/drawing/2014/main" id="{BCC76D32-C587-45AA-A26C-ED5B038C867B}"/>
              </a:ext>
            </a:extLst>
          </p:cNvPr>
          <p:cNvPicPr>
            <a:picLocks noChangeAspect="1" noChangeArrowheads="1"/>
          </p:cNvPicPr>
          <p:nvPr/>
        </p:nvPicPr>
        <p:blipFill>
          <a:blip r:embed="rId4" cstate="print"/>
          <a:srcRect/>
          <a:stretch>
            <a:fillRect/>
          </a:stretch>
        </p:blipFill>
        <p:spPr bwMode="auto">
          <a:xfrm>
            <a:off x="426720" y="5328053"/>
            <a:ext cx="333195" cy="333195"/>
          </a:xfrm>
          <a:prstGeom prst="rect">
            <a:avLst/>
          </a:prstGeom>
          <a:noFill/>
        </p:spPr>
      </p:pic>
      <p:pic>
        <p:nvPicPr>
          <p:cNvPr id="17" name="Picture 2" descr="LinkedIn">
            <a:hlinkClick r:id="rId5"/>
            <a:extLst>
              <a:ext uri="{FF2B5EF4-FFF2-40B4-BE49-F238E27FC236}">
                <a16:creationId xmlns:a16="http://schemas.microsoft.com/office/drawing/2014/main" id="{F6DF1D6E-8462-43E1-AFC5-8A5C855024F4}"/>
              </a:ext>
            </a:extLst>
          </p:cNvPr>
          <p:cNvPicPr>
            <a:picLocks noChangeAspect="1" noChangeArrowheads="1"/>
          </p:cNvPicPr>
          <p:nvPr/>
        </p:nvPicPr>
        <p:blipFill>
          <a:blip r:embed="rId6" cstate="print"/>
          <a:srcRect/>
          <a:stretch>
            <a:fillRect/>
          </a:stretch>
        </p:blipFill>
        <p:spPr bwMode="auto">
          <a:xfrm>
            <a:off x="810097" y="5328053"/>
            <a:ext cx="333195" cy="333195"/>
          </a:xfrm>
          <a:prstGeom prst="rect">
            <a:avLst/>
          </a:prstGeom>
          <a:noFill/>
        </p:spPr>
      </p:pic>
      <p:pic>
        <p:nvPicPr>
          <p:cNvPr id="19" name="Picture 4" descr="SlideShare">
            <a:hlinkClick r:id="rId7"/>
            <a:extLst>
              <a:ext uri="{FF2B5EF4-FFF2-40B4-BE49-F238E27FC236}">
                <a16:creationId xmlns:a16="http://schemas.microsoft.com/office/drawing/2014/main" id="{DA74C6D2-FFE3-4CE8-B52D-0A33097AEEAF}"/>
              </a:ext>
            </a:extLst>
          </p:cNvPr>
          <p:cNvPicPr>
            <a:picLocks noChangeAspect="1" noChangeArrowheads="1"/>
          </p:cNvPicPr>
          <p:nvPr/>
        </p:nvPicPr>
        <p:blipFill>
          <a:blip r:embed="rId8" cstate="print"/>
          <a:srcRect/>
          <a:stretch>
            <a:fillRect/>
          </a:stretch>
        </p:blipFill>
        <p:spPr bwMode="auto">
          <a:xfrm>
            <a:off x="1193474" y="5328053"/>
            <a:ext cx="333195" cy="333195"/>
          </a:xfrm>
          <a:prstGeom prst="rect">
            <a:avLst/>
          </a:prstGeom>
          <a:noFill/>
        </p:spPr>
      </p:pic>
      <p:pic>
        <p:nvPicPr>
          <p:cNvPr id="20" name="Picture 5" descr="Twitter">
            <a:hlinkClick r:id="rId9"/>
            <a:extLst>
              <a:ext uri="{FF2B5EF4-FFF2-40B4-BE49-F238E27FC236}">
                <a16:creationId xmlns:a16="http://schemas.microsoft.com/office/drawing/2014/main" id="{14E10122-92A2-4535-9737-8C1BE0EE0AEC}"/>
              </a:ext>
            </a:extLst>
          </p:cNvPr>
          <p:cNvPicPr>
            <a:picLocks noChangeAspect="1" noChangeArrowheads="1"/>
          </p:cNvPicPr>
          <p:nvPr/>
        </p:nvPicPr>
        <p:blipFill>
          <a:blip r:embed="rId10" cstate="print"/>
          <a:srcRect/>
          <a:stretch>
            <a:fillRect/>
          </a:stretch>
        </p:blipFill>
        <p:spPr bwMode="auto">
          <a:xfrm>
            <a:off x="1576851" y="5328053"/>
            <a:ext cx="333195" cy="333195"/>
          </a:xfrm>
          <a:prstGeom prst="rect">
            <a:avLst/>
          </a:prstGeom>
          <a:noFill/>
        </p:spPr>
      </p:pic>
      <p:pic>
        <p:nvPicPr>
          <p:cNvPr id="21" name="Picture 6" descr="YouTube">
            <a:hlinkClick r:id="rId11"/>
            <a:extLst>
              <a:ext uri="{FF2B5EF4-FFF2-40B4-BE49-F238E27FC236}">
                <a16:creationId xmlns:a16="http://schemas.microsoft.com/office/drawing/2014/main" id="{BA6EF96A-02CA-41A1-9095-358FE7486671}"/>
              </a:ext>
            </a:extLst>
          </p:cNvPr>
          <p:cNvPicPr>
            <a:picLocks noChangeAspect="1" noChangeArrowheads="1"/>
          </p:cNvPicPr>
          <p:nvPr userDrawn="1"/>
        </p:nvPicPr>
        <p:blipFill>
          <a:blip r:embed="rId12" cstate="print"/>
          <a:srcRect/>
          <a:stretch>
            <a:fillRect/>
          </a:stretch>
        </p:blipFill>
        <p:spPr bwMode="auto">
          <a:xfrm>
            <a:off x="1960227" y="5328053"/>
            <a:ext cx="333195" cy="333195"/>
          </a:xfrm>
          <a:prstGeom prst="rect">
            <a:avLst/>
          </a:prstGeom>
          <a:noFill/>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a:solidFill>
                  <a:schemeClr val="bg1"/>
                </a:solidFill>
                <a:latin typeface="Ubuntu" panose="020B0504030602030204" pitchFamily="34" charset="0"/>
                <a:cs typeface="Arial"/>
              </a:rPr>
              <a:t>Copyright © 2021 Capgemini. All rights reserved.</a:t>
            </a:r>
          </a:p>
        </p:txBody>
      </p:sp>
      <p:pic>
        <p:nvPicPr>
          <p:cNvPr id="24" name="Image 23" descr="Capgemini">
            <a:extLst>
              <a:ext uri="{FF2B5EF4-FFF2-40B4-BE49-F238E27FC236}">
                <a16:creationId xmlns:a16="http://schemas.microsoft.com/office/drawing/2014/main" id="{67291309-8FC0-47AE-9F48-E59E45B7FC66}"/>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8765367" y="5376781"/>
            <a:ext cx="3024000" cy="1226177"/>
          </a:xfrm>
          <a:prstGeom prst="rect">
            <a:avLst/>
          </a:prstGeom>
        </p:spPr>
      </p:pic>
    </p:spTree>
    <p:extLst>
      <p:ext uri="{BB962C8B-B14F-4D97-AF65-F5344CB8AC3E}">
        <p14:creationId xmlns:p14="http://schemas.microsoft.com/office/powerpoint/2010/main" val="184667314"/>
      </p:ext>
    </p:extLst>
  </p:cSld>
  <p:clrMapOvr>
    <a:masterClrMapping/>
  </p:clrMapOvr>
  <p:transition spd="slow">
    <p:push dir="u"/>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1FBB6F5A-C089-49EB-85DA-04CA2652AF6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8027" t="2239" r="26258" b="22547"/>
          <a:stretch/>
        </p:blipFill>
        <p:spPr>
          <a:xfrm>
            <a:off x="0" y="0"/>
            <a:ext cx="4882211" cy="6858000"/>
          </a:xfrm>
          <a:prstGeom prst="rect">
            <a:avLst/>
          </a:prstGeom>
        </p:spPr>
      </p:pic>
      <p:sp>
        <p:nvSpPr>
          <p:cNvPr id="2" name="Title 1">
            <a:extLst>
              <a:ext uri="{FF2B5EF4-FFF2-40B4-BE49-F238E27FC236}">
                <a16:creationId xmlns:a16="http://schemas.microsoft.com/office/drawing/2014/main" id="{4774F36F-3194-40C1-BFCB-D2FC8CB290B2}"/>
              </a:ext>
            </a:extLst>
          </p:cNvPr>
          <p:cNvSpPr>
            <a:spLocks noGrp="1"/>
          </p:cNvSpPr>
          <p:nvPr>
            <p:ph type="title" hasCustomPrompt="1"/>
          </p:nvPr>
        </p:nvSpPr>
        <p:spPr>
          <a:xfrm>
            <a:off x="191344" y="9144"/>
            <a:ext cx="3056632" cy="827568"/>
          </a:xfrm>
          <a:prstGeom prst="rect">
            <a:avLst/>
          </a:prstGeom>
        </p:spPr>
        <p:txBody>
          <a:bodyPr/>
          <a:lstStyle>
            <a:lvl1pPr algn="l">
              <a:defRPr sz="4000">
                <a:solidFill>
                  <a:schemeClr val="bg1"/>
                </a:solidFill>
              </a:defRPr>
            </a:lvl1pPr>
          </a:lstStyle>
          <a:p>
            <a:r>
              <a:rPr lang="en-US"/>
              <a:t>Agenda</a:t>
            </a:r>
          </a:p>
        </p:txBody>
      </p:sp>
      <p:sp>
        <p:nvSpPr>
          <p:cNvPr id="5" name="Oval 20">
            <a:extLst>
              <a:ext uri="{FF2B5EF4-FFF2-40B4-BE49-F238E27FC236}">
                <a16:creationId xmlns:a16="http://schemas.microsoft.com/office/drawing/2014/main" id="{0B27F5C5-C656-4F2F-9EEE-B93F6E79E727}"/>
              </a:ext>
              <a:ext uri="{C183D7F6-B498-43B3-948B-1728B52AA6E4}">
                <adec:decorative xmlns:adec="http://schemas.microsoft.com/office/drawing/2017/decorative" val="1"/>
              </a:ext>
            </a:extLst>
          </p:cNvPr>
          <p:cNvSpPr/>
          <p:nvPr userDrawn="1"/>
        </p:nvSpPr>
        <p:spPr>
          <a:xfrm>
            <a:off x="5327637" y="71149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11B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Text Placeholder 4">
            <a:extLst>
              <a:ext uri="{FF2B5EF4-FFF2-40B4-BE49-F238E27FC236}">
                <a16:creationId xmlns:a16="http://schemas.microsoft.com/office/drawing/2014/main" id="{6C41C771-7ED2-45AF-884F-E0E275C6B347}"/>
              </a:ext>
            </a:extLst>
          </p:cNvPr>
          <p:cNvSpPr>
            <a:spLocks noGrp="1"/>
          </p:cNvSpPr>
          <p:nvPr>
            <p:ph type="body" sz="quarter" idx="35" hasCustomPrompt="1"/>
          </p:nvPr>
        </p:nvSpPr>
        <p:spPr>
          <a:xfrm>
            <a:off x="5498013" y="1040484"/>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6" name="Text Placeholder 4">
            <a:extLst>
              <a:ext uri="{FF2B5EF4-FFF2-40B4-BE49-F238E27FC236}">
                <a16:creationId xmlns:a16="http://schemas.microsoft.com/office/drawing/2014/main" id="{6A82ADF8-12C7-4D27-8457-7F3D1C93EB46}"/>
              </a:ext>
            </a:extLst>
          </p:cNvPr>
          <p:cNvSpPr>
            <a:spLocks noGrp="1"/>
          </p:cNvSpPr>
          <p:nvPr>
            <p:ph type="body" sz="quarter" idx="29" hasCustomPrompt="1"/>
          </p:nvPr>
        </p:nvSpPr>
        <p:spPr>
          <a:xfrm>
            <a:off x="6787432" y="518014"/>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7" name="Text Placeholder 7">
            <a:extLst>
              <a:ext uri="{FF2B5EF4-FFF2-40B4-BE49-F238E27FC236}">
                <a16:creationId xmlns:a16="http://schemas.microsoft.com/office/drawing/2014/main" id="{E18CF815-87D3-425A-8169-07DAC5996151}"/>
              </a:ext>
            </a:extLst>
          </p:cNvPr>
          <p:cNvSpPr>
            <a:spLocks noGrp="1"/>
          </p:cNvSpPr>
          <p:nvPr>
            <p:ph type="body" sz="quarter" idx="30" hasCustomPrompt="1"/>
          </p:nvPr>
        </p:nvSpPr>
        <p:spPr>
          <a:xfrm>
            <a:off x="6787433"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4" name="Oval 20">
            <a:extLst>
              <a:ext uri="{FF2B5EF4-FFF2-40B4-BE49-F238E27FC236}">
                <a16:creationId xmlns:a16="http://schemas.microsoft.com/office/drawing/2014/main" id="{71209714-A86B-492A-AC18-2DBD1D17EB98}"/>
              </a:ext>
              <a:ext uri="{C183D7F6-B498-43B3-948B-1728B52AA6E4}">
                <adec:decorative xmlns:adec="http://schemas.microsoft.com/office/drawing/2017/decorative" val="1"/>
              </a:ext>
            </a:extLst>
          </p:cNvPr>
          <p:cNvSpPr/>
          <p:nvPr userDrawn="1"/>
        </p:nvSpPr>
        <p:spPr>
          <a:xfrm>
            <a:off x="5327637" y="2656077"/>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590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Text Placeholder 4">
            <a:extLst>
              <a:ext uri="{FF2B5EF4-FFF2-40B4-BE49-F238E27FC236}">
                <a16:creationId xmlns:a16="http://schemas.microsoft.com/office/drawing/2014/main" id="{1CDF667B-1AA2-4981-B115-B40754E318E4}"/>
              </a:ext>
            </a:extLst>
          </p:cNvPr>
          <p:cNvSpPr>
            <a:spLocks noGrp="1"/>
          </p:cNvSpPr>
          <p:nvPr>
            <p:ph type="body" sz="quarter" idx="36" hasCustomPrompt="1"/>
          </p:nvPr>
        </p:nvSpPr>
        <p:spPr>
          <a:xfrm>
            <a:off x="5498013" y="299622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10" name="Text Placeholder 4">
            <a:extLst>
              <a:ext uri="{FF2B5EF4-FFF2-40B4-BE49-F238E27FC236}">
                <a16:creationId xmlns:a16="http://schemas.microsoft.com/office/drawing/2014/main" id="{949B542E-285C-4837-B671-696E4DC001E9}"/>
              </a:ext>
            </a:extLst>
          </p:cNvPr>
          <p:cNvSpPr>
            <a:spLocks noGrp="1"/>
          </p:cNvSpPr>
          <p:nvPr>
            <p:ph type="body" sz="quarter" idx="33" hasCustomPrompt="1"/>
          </p:nvPr>
        </p:nvSpPr>
        <p:spPr>
          <a:xfrm>
            <a:off x="6787432" y="2563381"/>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1" name="Text Placeholder 7">
            <a:extLst>
              <a:ext uri="{FF2B5EF4-FFF2-40B4-BE49-F238E27FC236}">
                <a16:creationId xmlns:a16="http://schemas.microsoft.com/office/drawing/2014/main" id="{09A45E63-A970-497F-9E53-8D389A8457FB}"/>
              </a:ext>
            </a:extLst>
          </p:cNvPr>
          <p:cNvSpPr>
            <a:spLocks noGrp="1"/>
          </p:cNvSpPr>
          <p:nvPr>
            <p:ph type="body" sz="quarter" idx="34" hasCustomPrompt="1"/>
          </p:nvPr>
        </p:nvSpPr>
        <p:spPr>
          <a:xfrm>
            <a:off x="6787433"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3" name="Oval 20">
            <a:extLst>
              <a:ext uri="{FF2B5EF4-FFF2-40B4-BE49-F238E27FC236}">
                <a16:creationId xmlns:a16="http://schemas.microsoft.com/office/drawing/2014/main" id="{F88C0E2C-E612-44EC-9013-AD68C65B671C}"/>
              </a:ext>
              <a:ext uri="{C183D7F6-B498-43B3-948B-1728B52AA6E4}">
                <adec:decorative xmlns:adec="http://schemas.microsoft.com/office/drawing/2017/decorative" val="1"/>
              </a:ext>
            </a:extLst>
          </p:cNvPr>
          <p:cNvSpPr/>
          <p:nvPr userDrawn="1"/>
        </p:nvSpPr>
        <p:spPr>
          <a:xfrm>
            <a:off x="5327637" y="478039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A60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Text Placeholder 4">
            <a:extLst>
              <a:ext uri="{FF2B5EF4-FFF2-40B4-BE49-F238E27FC236}">
                <a16:creationId xmlns:a16="http://schemas.microsoft.com/office/drawing/2014/main" id="{A411BF5D-81E9-4AC1-AE6D-53DC26B2ECA6}"/>
              </a:ext>
            </a:extLst>
          </p:cNvPr>
          <p:cNvSpPr>
            <a:spLocks noGrp="1"/>
          </p:cNvSpPr>
          <p:nvPr>
            <p:ph type="body" sz="quarter" idx="37" hasCustomPrompt="1"/>
          </p:nvPr>
        </p:nvSpPr>
        <p:spPr>
          <a:xfrm>
            <a:off x="5498013" y="510784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8" name="Text Placeholder 4">
            <a:extLst>
              <a:ext uri="{FF2B5EF4-FFF2-40B4-BE49-F238E27FC236}">
                <a16:creationId xmlns:a16="http://schemas.microsoft.com/office/drawing/2014/main" id="{42676D57-7318-4038-8625-151D4DD857E7}"/>
              </a:ext>
            </a:extLst>
          </p:cNvPr>
          <p:cNvSpPr>
            <a:spLocks noGrp="1"/>
          </p:cNvSpPr>
          <p:nvPr>
            <p:ph type="body" sz="quarter" idx="31" hasCustomPrompt="1"/>
          </p:nvPr>
        </p:nvSpPr>
        <p:spPr>
          <a:xfrm>
            <a:off x="6787432" y="4647262"/>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9" name="Text Placeholder 7">
            <a:extLst>
              <a:ext uri="{FF2B5EF4-FFF2-40B4-BE49-F238E27FC236}">
                <a16:creationId xmlns:a16="http://schemas.microsoft.com/office/drawing/2014/main" id="{9AB98D4C-7485-4468-A517-B5B92B48F38A}"/>
              </a:ext>
            </a:extLst>
          </p:cNvPr>
          <p:cNvSpPr>
            <a:spLocks noGrp="1"/>
          </p:cNvSpPr>
          <p:nvPr>
            <p:ph type="body" sz="quarter" idx="32" hasCustomPrompt="1"/>
          </p:nvPr>
        </p:nvSpPr>
        <p:spPr>
          <a:xfrm>
            <a:off x="6787433"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014791568"/>
      </p:ext>
    </p:extLst>
  </p:cSld>
  <p:clrMapOvr>
    <a:masterClrMapping/>
  </p:clrMapOvr>
  <p:transition spd="slow">
    <p:push dir="u"/>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p:cSld name="1_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5229200"/>
            <a:ext cx="6699299"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933246"/>
            <a:ext cx="6699299" cy="2243691"/>
          </a:xfrm>
        </p:spPr>
        <p:txBody>
          <a:bodyPr wrap="square" lIns="36000" rIns="36000" bIns="0" anchor="b" anchorCtr="0">
            <a:spAutoFit/>
          </a:bodyPr>
          <a:lstStyle>
            <a:lvl1pPr algn="l">
              <a:lnSpc>
                <a:spcPct val="90000"/>
              </a:lnSpc>
              <a:defRPr sz="5400" b="1" baseline="0">
                <a:solidFill>
                  <a:schemeClr val="bg1"/>
                </a:solidFill>
                <a:latin typeface="+mn-lt"/>
              </a:defRPr>
            </a:lvl1pPr>
          </a:lstStyle>
          <a:p>
            <a:r>
              <a:rPr lang="en-US"/>
              <a:t>Click to edit Master title style</a:t>
            </a:r>
            <a:endParaRPr lang="en-GB"/>
          </a:p>
        </p:txBody>
      </p:sp>
      <p:pic>
        <p:nvPicPr>
          <p:cNvPr id="8" name="Graphic 7">
            <a:extLst>
              <a:ext uri="{FF2B5EF4-FFF2-40B4-BE49-F238E27FC236}">
                <a16:creationId xmlns:a16="http://schemas.microsoft.com/office/drawing/2014/main" id="{84BC735E-A9A3-4A52-8056-D6C0AF26378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51384" y="642523"/>
            <a:ext cx="4200525" cy="962025"/>
          </a:xfrm>
          <a:prstGeom prst="rect">
            <a:avLst/>
          </a:prstGeom>
        </p:spPr>
      </p:pic>
    </p:spTree>
    <p:extLst>
      <p:ext uri="{BB962C8B-B14F-4D97-AF65-F5344CB8AC3E}">
        <p14:creationId xmlns:p14="http://schemas.microsoft.com/office/powerpoint/2010/main" val="3984107317"/>
      </p:ext>
    </p:extLst>
  </p:cSld>
  <p:clrMapOvr>
    <a:masterClrMapping/>
  </p:clrMapOvr>
  <p:transition spd="slow">
    <p:push dir="u"/>
  </p:transition>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Section C – Wide">
    <p:spTree>
      <p:nvGrpSpPr>
        <p:cNvPr id="1" name=""/>
        <p:cNvGrpSpPr/>
        <p:nvPr/>
      </p:nvGrpSpPr>
      <p:grpSpPr>
        <a:xfrm>
          <a:off x="0" y="0"/>
          <a:ext cx="0" cy="0"/>
          <a:chOff x="0" y="0"/>
          <a:chExt cx="0" cy="0"/>
        </a:xfrm>
      </p:grpSpPr>
      <p:pic>
        <p:nvPicPr>
          <p:cNvPr id="16" name="Picture 6">
            <a:extLst>
              <a:ext uri="{FF2B5EF4-FFF2-40B4-BE49-F238E27FC236}">
                <a16:creationId xmlns:a16="http://schemas.microsoft.com/office/drawing/2014/main" id="{B313E9A5-8927-4424-8200-0B40A5FE0D8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6079" t="6949" r="40419" b="6949"/>
          <a:stretch/>
        </p:blipFill>
        <p:spPr bwMode="ltGray">
          <a:xfrm>
            <a:off x="0" y="0"/>
            <a:ext cx="2783632" cy="6858001"/>
          </a:xfrm>
          <a:prstGeom prst="rect">
            <a:avLst/>
          </a:prstGeom>
        </p:spPr>
      </p:pic>
      <p:sp>
        <p:nvSpPr>
          <p:cNvPr id="13" name="Rectangle 12">
            <a:extLst>
              <a:ext uri="{FF2B5EF4-FFF2-40B4-BE49-F238E27FC236}">
                <a16:creationId xmlns:a16="http://schemas.microsoft.com/office/drawing/2014/main" id="{11AD9EEC-2F0C-454C-A5B2-F57FD7AAED4C}"/>
              </a:ext>
            </a:extLst>
          </p:cNvPr>
          <p:cNvSpPr/>
          <p:nvPr userDrawn="1"/>
        </p:nvSpPr>
        <p:spPr bwMode="white">
          <a:xfrm>
            <a:off x="2679031" y="-1"/>
            <a:ext cx="9512969" cy="6858001"/>
          </a:xfrm>
          <a:prstGeom prst="rect">
            <a:avLst/>
          </a:prstGeom>
          <a:solidFill>
            <a:srgbClr val="0F4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solidFill>
                <a:schemeClr val="tx1"/>
              </a:solidFill>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auto">
          <a:xfrm>
            <a:off x="3359696" y="2095351"/>
            <a:ext cx="5781098" cy="3975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spAutoFit/>
          </a:bodyPr>
          <a:lstStyle>
            <a:lvl1pPr algn="l">
              <a:lnSpc>
                <a:spcPts val="3100"/>
              </a:lnSpc>
              <a:defRPr lang="en-US" sz="3200" b="1" cap="all" baseline="0" dirty="0">
                <a:solidFill>
                  <a:schemeClr val="bg1"/>
                </a:solidFill>
                <a:latin typeface="Ubuntu" panose="020B0504030602030204" pitchFamily="34" charset="0"/>
              </a:defRPr>
            </a:lvl1pPr>
          </a:lstStyle>
          <a:p>
            <a:pPr marL="0" lvl="0"/>
            <a:r>
              <a:rPr lang="en-US"/>
              <a:t>SECTION TITLE ALL CAPS</a:t>
            </a:r>
          </a:p>
        </p:txBody>
      </p:sp>
      <p:sp>
        <p:nvSpPr>
          <p:cNvPr id="9" name="Text Placeholder 8">
            <a:extLst>
              <a:ext uri="{FF2B5EF4-FFF2-40B4-BE49-F238E27FC236}">
                <a16:creationId xmlns:a16="http://schemas.microsoft.com/office/drawing/2014/main" id="{F874BF17-775B-4C09-81B2-C8403E37CEBE}"/>
              </a:ext>
            </a:extLst>
          </p:cNvPr>
          <p:cNvSpPr>
            <a:spLocks noGrp="1"/>
          </p:cNvSpPr>
          <p:nvPr>
            <p:ph type="body" sz="quarter" idx="11" hasCustomPrompt="1"/>
          </p:nvPr>
        </p:nvSpPr>
        <p:spPr>
          <a:xfrm>
            <a:off x="3359696" y="3713163"/>
            <a:ext cx="5781098" cy="2809875"/>
          </a:xfrm>
          <a:prstGeom prst="rect">
            <a:avLst/>
          </a:prstGeom>
        </p:spPr>
        <p:txBody>
          <a:bodyPr lIns="0" tIns="0" rIns="0" bIns="0"/>
          <a:lstStyle>
            <a:lvl1pPr marL="0" indent="0">
              <a:lnSpc>
                <a:spcPct val="110000"/>
              </a:lnSpc>
              <a:buNone/>
              <a:defRPr sz="1800">
                <a:solidFill>
                  <a:schemeClr val="bg1"/>
                </a:solidFill>
                <a:latin typeface="Ubuntu" panose="020B0504030602030204" pitchFamily="34" charset="0"/>
              </a:defRPr>
            </a:lvl1pPr>
          </a:lstStyle>
          <a:p>
            <a:pPr lvl="0"/>
            <a:r>
              <a:rPr lang="en-US"/>
              <a:t>Short chapter description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a:t>
            </a:r>
            <a:r>
              <a:rPr lang="en-US"/>
              <a:t>.</a:t>
            </a:r>
            <a:endParaRPr lang="en-GB"/>
          </a:p>
        </p:txBody>
      </p:sp>
      <p:sp>
        <p:nvSpPr>
          <p:cNvPr id="5" name="Text Placeholder 4">
            <a:extLst>
              <a:ext uri="{FF2B5EF4-FFF2-40B4-BE49-F238E27FC236}">
                <a16:creationId xmlns:a16="http://schemas.microsoft.com/office/drawing/2014/main" id="{2545FEED-D34C-429E-92B0-734C0A2CAA82}"/>
              </a:ext>
            </a:extLst>
          </p:cNvPr>
          <p:cNvSpPr>
            <a:spLocks noGrp="1"/>
          </p:cNvSpPr>
          <p:nvPr>
            <p:ph type="body" sz="quarter" idx="10" hasCustomPrompt="1"/>
          </p:nvPr>
        </p:nvSpPr>
        <p:spPr>
          <a:xfrm>
            <a:off x="3359696" y="3144837"/>
            <a:ext cx="5781098" cy="476845"/>
          </a:xfrm>
          <a:prstGeom prst="rect">
            <a:avLst/>
          </a:prstGeom>
        </p:spPr>
        <p:txBody>
          <a:bodyPr lIns="0" tIns="0" rIns="0" bIns="0"/>
          <a:lstStyle>
            <a:lvl1pPr marL="0" indent="0">
              <a:buNone/>
              <a:defRPr sz="2400" cap="all" baseline="0">
                <a:solidFill>
                  <a:srgbClr val="00E6E3"/>
                </a:solidFill>
                <a:latin typeface="Ubuntu" panose="020B0504030602030204" pitchFamily="34" charset="0"/>
              </a:defRPr>
            </a:lvl1pPr>
            <a:lvl5pPr>
              <a:defRPr/>
            </a:lvl5pPr>
          </a:lstStyle>
          <a:p>
            <a:pPr lvl="0"/>
            <a:r>
              <a:rPr lang="en-US"/>
              <a:t>SECTION SUBTITLE ALL CAPs</a:t>
            </a:r>
            <a:endParaRPr lang="en-GB"/>
          </a:p>
        </p:txBody>
      </p:sp>
      <p:grpSp>
        <p:nvGrpSpPr>
          <p:cNvPr id="8" name="Group 37">
            <a:extLst>
              <a:ext uri="{FF2B5EF4-FFF2-40B4-BE49-F238E27FC236}">
                <a16:creationId xmlns:a16="http://schemas.microsoft.com/office/drawing/2014/main" id="{A0131EFA-E3CA-4470-968C-AA4EF9936122}"/>
              </a:ext>
              <a:ext uri="{C183D7F6-B498-43B3-948B-1728B52AA6E4}">
                <adec:decorative xmlns:adec="http://schemas.microsoft.com/office/drawing/2017/decorative" val="1"/>
              </a:ext>
            </a:extLst>
          </p:cNvPr>
          <p:cNvGrpSpPr/>
          <p:nvPr userDrawn="1"/>
        </p:nvGrpSpPr>
        <p:grpSpPr>
          <a:xfrm>
            <a:off x="11559747" y="210928"/>
            <a:ext cx="413177" cy="382296"/>
            <a:chOff x="5481638" y="2859088"/>
            <a:chExt cx="1231900" cy="1139825"/>
          </a:xfrm>
          <a:solidFill>
            <a:schemeClr val="bg1"/>
          </a:solidFill>
        </p:grpSpPr>
        <p:sp>
          <p:nvSpPr>
            <p:cNvPr id="10" name="Freeform 320">
              <a:extLst>
                <a:ext uri="{FF2B5EF4-FFF2-40B4-BE49-F238E27FC236}">
                  <a16:creationId xmlns:a16="http://schemas.microsoft.com/office/drawing/2014/main" id="{FE038D48-6B7B-4F99-AD46-1A717A987A80}"/>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1" name="Freeform 321">
              <a:extLst>
                <a:ext uri="{FF2B5EF4-FFF2-40B4-BE49-F238E27FC236}">
                  <a16:creationId xmlns:a16="http://schemas.microsoft.com/office/drawing/2014/main" id="{8099682C-62AB-45A8-A317-C09E541E1A70}"/>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47520326"/>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75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grpId="1" nodeType="withEffect">
                                  <p:stCondLst>
                                    <p:cond delay="100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1500"/>
                                        <p:tgtEl>
                                          <p:spTgt spid="13"/>
                                        </p:tgtEl>
                                      </p:cBhvr>
                                    </p:animEffect>
                                  </p:childTnLst>
                                </p:cTn>
                              </p:par>
                              <p:par>
                                <p:cTn id="11" presetID="63" presetClass="path" presetSubtype="0" decel="100000" fill="hold" grpId="0" nodeType="withEffect">
                                  <p:stCondLst>
                                    <p:cond delay="1000"/>
                                  </p:stCondLst>
                                  <p:childTnLst>
                                    <p:animMotion origin="layout" path="M -0.05938 0 L 4.16667E-6 0 " pathEditMode="relative" rAng="0" ptsTypes="AA">
                                      <p:cBhvr>
                                        <p:cTn id="12" dur="1500" fill="hold"/>
                                        <p:tgtEl>
                                          <p:spTgt spid="13"/>
                                        </p:tgtEl>
                                        <p:attrNameLst>
                                          <p:attrName>ppt_x</p:attrName>
                                          <p:attrName>ppt_y</p:attrName>
                                        </p:attrNameLst>
                                      </p:cBhvr>
                                      <p:rCtr x="2969" y="0"/>
                                    </p:animMotion>
                                  </p:childTnLst>
                                </p:cTn>
                              </p:par>
                              <p:par>
                                <p:cTn id="13" presetID="10" presetClass="entr" presetSubtype="0" fill="hold" grpId="0" nodeType="withEffect">
                                  <p:stCondLst>
                                    <p:cond delay="2500"/>
                                  </p:stCondLst>
                                  <p:iterate type="wd">
                                    <p:tmPct val="16667"/>
                                  </p:iterate>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par>
                                <p:cTn id="16" presetID="64" presetClass="path" presetSubtype="0" decel="100000" fill="hold" grpId="1" nodeType="withEffect">
                                  <p:stCondLst>
                                    <p:cond delay="2500"/>
                                  </p:stCondLst>
                                  <p:iterate type="wd">
                                    <p:tmPct val="16667"/>
                                  </p:iterate>
                                  <p:childTnLst>
                                    <p:animMotion origin="layout" path="M -4.16667E-6 0.02616 L -4.16667E-6 -4.81481E-6 " pathEditMode="relative" rAng="0" ptsTypes="AA">
                                      <p:cBhvr>
                                        <p:cTn id="17" dur="500" fill="hold"/>
                                        <p:tgtEl>
                                          <p:spTgt spid="5"/>
                                        </p:tgtEl>
                                        <p:attrNameLst>
                                          <p:attrName>ppt_x</p:attrName>
                                          <p:attrName>ppt_y</p:attrName>
                                        </p:attrNameLst>
                                      </p:cBhvr>
                                      <p:rCtr x="0" y="-1319"/>
                                    </p:animMotion>
                                  </p:childTnLst>
                                </p:cTn>
                              </p:par>
                              <p:par>
                                <p:cTn id="18" presetID="10" presetClass="entr" presetSubtype="0" fill="hold" grpId="0" nodeType="withEffect">
                                  <p:stCondLst>
                                    <p:cond delay="3400"/>
                                  </p:stCondLst>
                                  <p:childTnLst>
                                    <p:set>
                                      <p:cBhvr>
                                        <p:cTn id="19" dur="1" fill="hold">
                                          <p:stCondLst>
                                            <p:cond delay="0"/>
                                          </p:stCondLst>
                                        </p:cTn>
                                        <p:tgtEl>
                                          <p:spTgt spid="9">
                                            <p:txEl>
                                              <p:pRg st="0" end="0"/>
                                            </p:txEl>
                                          </p:spTgt>
                                        </p:tgtEl>
                                        <p:attrNameLst>
                                          <p:attrName>style.visibility</p:attrName>
                                        </p:attrNameLst>
                                      </p:cBhvr>
                                      <p:to>
                                        <p:strVal val="visible"/>
                                      </p:to>
                                    </p:set>
                                    <p:animEffect transition="in" filter="fade">
                                      <p:cBhvr>
                                        <p:cTn id="20" dur="750"/>
                                        <p:tgtEl>
                                          <p:spTgt spid="9">
                                            <p:txEl>
                                              <p:pRg st="0" end="0"/>
                                            </p:txEl>
                                          </p:spTgt>
                                        </p:tgtEl>
                                      </p:cBhvr>
                                    </p:animEffect>
                                  </p:childTnLst>
                                </p:cTn>
                              </p:par>
                              <p:par>
                                <p:cTn id="21" presetID="10" presetClass="entr" presetSubtype="0" fill="hold" nodeType="withEffect">
                                  <p:stCondLst>
                                    <p:cond delay="200"/>
                                  </p:stCondLst>
                                  <p:childTnLst>
                                    <p:set>
                                      <p:cBhvr>
                                        <p:cTn id="22" dur="1" fill="hold">
                                          <p:stCondLst>
                                            <p:cond delay="0"/>
                                          </p:stCondLst>
                                        </p:cTn>
                                        <p:tgtEl>
                                          <p:spTgt spid="16"/>
                                        </p:tgtEl>
                                        <p:attrNameLst>
                                          <p:attrName>style.visibility</p:attrName>
                                        </p:attrNameLst>
                                      </p:cBhvr>
                                      <p:to>
                                        <p:strVal val="visible"/>
                                      </p:to>
                                    </p:set>
                                    <p:animEffect transition="in" filter="fade">
                                      <p:cBhvr>
                                        <p:cTn id="23" dur="1150"/>
                                        <p:tgtEl>
                                          <p:spTgt spid="16"/>
                                        </p:tgtEl>
                                      </p:cBhvr>
                                    </p:animEffect>
                                  </p:childTnLst>
                                </p:cTn>
                              </p:par>
                              <p:par>
                                <p:cTn id="24" presetID="6" presetClass="emph" presetSubtype="0" fill="hold" nodeType="withEffect">
                                  <p:stCondLst>
                                    <p:cond delay="0"/>
                                  </p:stCondLst>
                                  <p:childTnLst>
                                    <p:animScale>
                                      <p:cBhvr>
                                        <p:cTn id="25" dur="150" fill="hold"/>
                                        <p:tgtEl>
                                          <p:spTgt spid="16"/>
                                        </p:tgtEl>
                                      </p:cBhvr>
                                      <p:by x="110000" y="110000"/>
                                    </p:animScale>
                                  </p:childTnLst>
                                </p:cTn>
                              </p:par>
                              <p:par>
                                <p:cTn id="26" presetID="6" presetClass="emph" presetSubtype="0" decel="100000" fill="hold" nodeType="withEffect">
                                  <p:stCondLst>
                                    <p:cond delay="200"/>
                                  </p:stCondLst>
                                  <p:childTnLst>
                                    <p:animScale>
                                      <p:cBhvr>
                                        <p:cTn id="27" dur="3450" fill="hold"/>
                                        <p:tgtEl>
                                          <p:spTgt spid="16"/>
                                        </p:tgtEl>
                                      </p:cBhvr>
                                      <p:by x="90990" y="9099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4" grpId="0"/>
      <p:bldP spid="9" grpId="0" build="p">
        <p:tmplLst>
          <p:tmpl lvl="1">
            <p:tnLst>
              <p:par>
                <p:cTn presetID="10" presetClass="entr" presetSubtype="0" fill="hold" nodeType="withEffect">
                  <p:stCondLst>
                    <p:cond delay="340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5" grpId="0">
        <p:tmplLst>
          <p:tmpl>
            <p:tnLst>
              <p:par>
                <p:cTn presetID="10" presetClass="entr" presetSubtype="0" fill="hold" nodeType="withEffect">
                  <p:stCondLst>
                    <p:cond delay="2500"/>
                  </p:stCondLst>
                  <p:iterate type="wd">
                    <p:tmPct val="16667"/>
                  </p:iterate>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64" presetClass="path" presetSubtype="0" decel="100000" fill="hold" nodeType="withEffect">
                  <p:stCondLst>
                    <p:cond delay="2500"/>
                  </p:stCondLst>
                  <p:iterate type="wd">
                    <p:tmPct val="16667"/>
                  </p:iterate>
                  <p:childTnLst>
                    <p:animMotion origin="layout" path="M -4.16667E-6 0.02616 L -4.16667E-6 -4.81481E-6 " pathEditMode="relative" rAng="0" ptsTypes="AA">
                      <p:cBhvr>
                        <p:cTn dur="500" fill="hold"/>
                        <p:tgtEl>
                          <p:spTgt spid="5"/>
                        </p:tgtEl>
                        <p:attrNameLst>
                          <p:attrName>ppt_x</p:attrName>
                          <p:attrName>ppt_y</p:attrName>
                        </p:attrNameLst>
                      </p:cBhvr>
                      <p:rCtr x="0" y="-1319"/>
                    </p:animMotion>
                  </p:childTnLst>
                </p:cTn>
              </p:par>
            </p:tnLst>
          </p:tmpl>
        </p:tmplLst>
      </p:bldP>
    </p:bld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p:nvPicPr>
        <p:blipFill rotWithShape="1">
          <a:blip r:embed="rId12">
            <a:extLst>
              <a:ext uri="{28A0092B-C50C-407E-A947-70E740481C1C}">
                <a14:useLocalDpi xmlns:a14="http://schemas.microsoft.com/office/drawing/2010/main" val="0"/>
              </a:ext>
            </a:extLst>
          </a:blip>
          <a:srcRect l="6804" t="21979" r="11456" b="23098"/>
          <a:stretch/>
        </p:blipFill>
        <p:spPr>
          <a:xfrm rot="1808368" flipV="1">
            <a:off x="4394821" y="417955"/>
            <a:ext cx="8667942" cy="4117924"/>
          </a:xfrm>
          <a:prstGeom prst="rect">
            <a:avLst/>
          </a:prstGeom>
        </p:spPr>
      </p:pic>
      <p:pic>
        <p:nvPicPr>
          <p:cNvPr id="22" name="Graphic 21">
            <a:extLst>
              <a:ext uri="{FF2B5EF4-FFF2-40B4-BE49-F238E27FC236}">
                <a16:creationId xmlns:a16="http://schemas.microsoft.com/office/drawing/2014/main" id="{87C241BA-1CF8-46FC-BDFB-FE16C11962BA}"/>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551384" y="642523"/>
            <a:ext cx="4200525" cy="962025"/>
          </a:xfrm>
          <a:prstGeom prst="rect">
            <a:avLst/>
          </a:prstGeom>
        </p:spPr>
      </p:pic>
    </p:spTree>
    <p:extLst>
      <p:ext uri="{BB962C8B-B14F-4D97-AF65-F5344CB8AC3E}">
        <p14:creationId xmlns:p14="http://schemas.microsoft.com/office/powerpoint/2010/main" val="3649383710"/>
      </p:ext>
    </p:extLst>
  </p:cSld>
  <p:clrMapOvr>
    <a:masterClrMapping/>
  </p:clrMapOvr>
  <p:transition spd="slow">
    <p:push dir="u"/>
  </p:transition>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type="blank" preserve="1">
  <p:cSld name="3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2214" y="129540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3"/>
            <a:extLst>
              <a:ext uri="{FF2B5EF4-FFF2-40B4-BE49-F238E27FC236}">
                <a16:creationId xmlns:a16="http://schemas.microsoft.com/office/drawing/2014/main" id="{F6DF1D6E-8462-43E1-AFC5-8A5C855024F4}"/>
              </a:ext>
            </a:extLst>
          </p:cNvPr>
          <p:cNvPicPr>
            <a:picLocks noChangeAspect="1" noChangeArrowheads="1"/>
          </p:cNvPicPr>
          <p:nvPr/>
        </p:nvPicPr>
        <p:blipFill>
          <a:blip r:embed="rId4"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5"/>
            <a:extLst>
              <a:ext uri="{FF2B5EF4-FFF2-40B4-BE49-F238E27FC236}">
                <a16:creationId xmlns:a16="http://schemas.microsoft.com/office/drawing/2014/main" id="{DA74C6D2-FFE3-4CE8-B52D-0A33097AEEAF}"/>
              </a:ext>
            </a:extLst>
          </p:cNvPr>
          <p:cNvPicPr>
            <a:picLocks noChangeAspect="1" noChangeArrowheads="1"/>
          </p:cNvPicPr>
          <p:nvPr/>
        </p:nvPicPr>
        <p:blipFill>
          <a:blip r:embed="rId6"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7"/>
            <a:extLst>
              <a:ext uri="{FF2B5EF4-FFF2-40B4-BE49-F238E27FC236}">
                <a16:creationId xmlns:a16="http://schemas.microsoft.com/office/drawing/2014/main" id="{14E10122-92A2-4535-9737-8C1BE0EE0AEC}"/>
              </a:ext>
            </a:extLst>
          </p:cNvPr>
          <p:cNvPicPr>
            <a:picLocks noChangeAspect="1" noChangeArrowheads="1"/>
          </p:cNvPicPr>
          <p:nvPr/>
        </p:nvPicPr>
        <p:blipFill>
          <a:blip r:embed="rId8"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9"/>
            <a:extLst>
              <a:ext uri="{FF2B5EF4-FFF2-40B4-BE49-F238E27FC236}">
                <a16:creationId xmlns:a16="http://schemas.microsoft.com/office/drawing/2014/main" id="{BA6EF96A-02CA-41A1-9095-358FE7486671}"/>
              </a:ext>
            </a:extLst>
          </p:cNvPr>
          <p:cNvPicPr>
            <a:picLocks noChangeAspect="1" noChangeArrowheads="1"/>
          </p:cNvPicPr>
          <p:nvPr userDrawn="1"/>
        </p:nvPicPr>
        <p:blipFill>
          <a:blip r:embed="rId10"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1"/>
            <a:extLst>
              <a:ext uri="{FF2B5EF4-FFF2-40B4-BE49-F238E27FC236}">
                <a16:creationId xmlns:a16="http://schemas.microsoft.com/office/drawing/2014/main" id="{BCC76D32-C587-45AA-A26C-ED5B038C867B}"/>
              </a:ext>
            </a:extLst>
          </p:cNvPr>
          <p:cNvPicPr>
            <a:picLocks noChangeAspect="1" noChangeArrowheads="1"/>
          </p:cNvPicPr>
          <p:nvPr/>
        </p:nvPicPr>
        <p:blipFill>
          <a:blip r:embed="rId12" cstate="print"/>
          <a:srcRect/>
          <a:stretch>
            <a:fillRect/>
          </a:stretch>
        </p:blipFill>
        <p:spPr bwMode="auto">
          <a:xfrm>
            <a:off x="426720" y="5328053"/>
            <a:ext cx="333195" cy="333195"/>
          </a:xfrm>
          <a:prstGeom prst="rect">
            <a:avLst/>
          </a:prstGeom>
          <a:noFill/>
        </p:spPr>
      </p:pic>
      <p:pic>
        <p:nvPicPr>
          <p:cNvPr id="25" name="Graphic 24">
            <a:extLst>
              <a:ext uri="{FF2B5EF4-FFF2-40B4-BE49-F238E27FC236}">
                <a16:creationId xmlns:a16="http://schemas.microsoft.com/office/drawing/2014/main" id="{A93746CB-8F5F-4B1D-978B-056949B18A09}"/>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7368083" y="5376781"/>
            <a:ext cx="4200525" cy="962025"/>
          </a:xfrm>
          <a:prstGeom prst="rect">
            <a:avLst/>
          </a:prstGeom>
        </p:spPr>
      </p:pic>
    </p:spTree>
    <p:extLst>
      <p:ext uri="{BB962C8B-B14F-4D97-AF65-F5344CB8AC3E}">
        <p14:creationId xmlns:p14="http://schemas.microsoft.com/office/powerpoint/2010/main" val="3491557162"/>
      </p:ext>
    </p:extLst>
  </p:cSld>
  <p:clrMapOvr>
    <a:masterClrMapping/>
  </p:clrMapOvr>
  <p:transition spd="slow">
    <p:push dir="u"/>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6" name="Text Placeholder 25">
            <a:extLst>
              <a:ext uri="{FF2B5EF4-FFF2-40B4-BE49-F238E27FC236}">
                <a16:creationId xmlns:a16="http://schemas.microsoft.com/office/drawing/2014/main" id="{816EBCB1-EDB7-8547-BA8B-450ADBE157E6}"/>
              </a:ext>
            </a:extLst>
          </p:cNvPr>
          <p:cNvSpPr>
            <a:spLocks noGrp="1"/>
          </p:cNvSpPr>
          <p:nvPr>
            <p:ph type="body" sz="quarter" idx="10" hasCustomPrompt="1"/>
          </p:nvPr>
        </p:nvSpPr>
        <p:spPr>
          <a:xfrm>
            <a:off x="393038" y="778052"/>
            <a:ext cx="3074987" cy="194301"/>
          </a:xfrm>
        </p:spPr>
        <p:txBody>
          <a:bodyPr>
            <a:normAutofit/>
          </a:bodyPr>
          <a:lstStyle>
            <a:lvl1pPr>
              <a:defRPr sz="1200"/>
            </a:lvl1pPr>
          </a:lstStyle>
          <a:p>
            <a:pPr lvl="0"/>
            <a:r>
              <a:rPr lang="en-GB"/>
              <a:t>CLICK TO EDIT</a:t>
            </a:r>
            <a:endParaRPr lang="en-PL"/>
          </a:p>
        </p:txBody>
      </p:sp>
      <p:sp>
        <p:nvSpPr>
          <p:cNvPr id="8" name="Text Placeholder 7">
            <a:extLst>
              <a:ext uri="{FF2B5EF4-FFF2-40B4-BE49-F238E27FC236}">
                <a16:creationId xmlns:a16="http://schemas.microsoft.com/office/drawing/2014/main" id="{5ED334F2-B89C-B941-B78E-BBCBB9E65D9E}"/>
              </a:ext>
            </a:extLst>
          </p:cNvPr>
          <p:cNvSpPr>
            <a:spLocks noGrp="1"/>
          </p:cNvSpPr>
          <p:nvPr>
            <p:ph type="body" sz="quarter" idx="11" hasCustomPrompt="1"/>
          </p:nvPr>
        </p:nvSpPr>
        <p:spPr>
          <a:xfrm>
            <a:off x="404813" y="1125538"/>
            <a:ext cx="4538662" cy="1897062"/>
          </a:xfrm>
        </p:spPr>
        <p:txBody>
          <a:bodyPr>
            <a:noAutofit/>
          </a:bodyPr>
          <a:lstStyle>
            <a:lvl1pPr>
              <a:lnSpc>
                <a:spcPct val="70000"/>
              </a:lnSpc>
              <a:spcAft>
                <a:spcPts val="0"/>
              </a:spcAft>
              <a:defRPr kumimoji="0" lang="en-GB" sz="3600" b="0" i="0" u="none" strike="noStrike" kern="1200" cap="none" spc="0" normalizeH="0" baseline="0">
                <a:ln>
                  <a:noFill/>
                </a:ln>
                <a:solidFill>
                  <a:srgbClr val="0070AD"/>
                </a:solidFill>
                <a:effectLst/>
                <a:uLnTx/>
                <a:uFillTx/>
                <a:latin typeface="+mj-lt"/>
                <a:ea typeface="+mn-ea"/>
                <a:cs typeface="+mn-cs"/>
              </a:defRPr>
            </a:lvl1pPr>
          </a:lstStyle>
          <a:p>
            <a:pPr lvl="0"/>
            <a:r>
              <a:rPr lang="en-GB"/>
              <a:t>CLICK TO EDIT MASTER TEXT STYLES</a:t>
            </a:r>
          </a:p>
        </p:txBody>
      </p:sp>
    </p:spTree>
    <p:extLst>
      <p:ext uri="{BB962C8B-B14F-4D97-AF65-F5344CB8AC3E}">
        <p14:creationId xmlns:p14="http://schemas.microsoft.com/office/powerpoint/2010/main" val="2450171153"/>
      </p:ext>
    </p:extLst>
  </p:cSld>
  <p:clrMapOvr>
    <a:masterClrMapping/>
  </p:clrMapOvr>
  <p:transition spd="slow">
    <p:push dir="u"/>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a:solidFill>
            <a:srgbClr val="272936"/>
          </a:solidFill>
        </p:spPr>
        <p:txBody>
          <a:bodyPr wrap="square">
            <a:noAutofit/>
          </a:bodyPr>
          <a:lstStyle>
            <a:lvl1pPr>
              <a:defRPr>
                <a:solidFill>
                  <a:schemeClr val="bg2">
                    <a:lumMod val="50000"/>
                  </a:schemeClr>
                </a:solidFill>
              </a:defRPr>
            </a:lvl1pPr>
          </a:lstStyle>
          <a:p>
            <a:r>
              <a:rPr lang="en-US"/>
              <a:t>Click icon to add picture and arrange the picture in the background</a:t>
            </a:r>
            <a:endParaRPr lang="en-GB"/>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pt-BR"/>
              <a:t>Clique para editar o título Mestre</a:t>
            </a:r>
            <a:endParaRPr lang="en-GB"/>
          </a:p>
        </p:txBody>
      </p:sp>
    </p:spTree>
    <p:extLst>
      <p:ext uri="{BB962C8B-B14F-4D97-AF65-F5344CB8AC3E}">
        <p14:creationId xmlns:p14="http://schemas.microsoft.com/office/powerpoint/2010/main" val="4159800523"/>
      </p:ext>
    </p:extLst>
  </p:cSld>
  <p:clrMapOvr>
    <a:masterClrMapping/>
  </p:clrMapOvr>
  <p:transition spd="slow">
    <p:push dir="u"/>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3.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png"/><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slideLayout" Target="../slideLayouts/slideLayout21.xml"/><Relationship Id="rId18" Type="http://schemas.openxmlformats.org/officeDocument/2006/relationships/slideLayout" Target="../slideLayouts/slideLayout26.xml"/><Relationship Id="rId26" Type="http://schemas.openxmlformats.org/officeDocument/2006/relationships/image" Target="../media/image1.png"/><Relationship Id="rId3" Type="http://schemas.openxmlformats.org/officeDocument/2006/relationships/slideLayout" Target="../slideLayouts/slideLayout11.xml"/><Relationship Id="rId21" Type="http://schemas.openxmlformats.org/officeDocument/2006/relationships/slideLayout" Target="../slideLayouts/slideLayout29.xml"/><Relationship Id="rId7" Type="http://schemas.openxmlformats.org/officeDocument/2006/relationships/slideLayout" Target="../slideLayouts/slideLayout15.xml"/><Relationship Id="rId12" Type="http://schemas.openxmlformats.org/officeDocument/2006/relationships/slideLayout" Target="../slideLayouts/slideLayout20.xml"/><Relationship Id="rId17" Type="http://schemas.openxmlformats.org/officeDocument/2006/relationships/slideLayout" Target="../slideLayouts/slideLayout25.xml"/><Relationship Id="rId25" Type="http://schemas.openxmlformats.org/officeDocument/2006/relationships/theme" Target="../theme/theme2.xml"/><Relationship Id="rId2" Type="http://schemas.openxmlformats.org/officeDocument/2006/relationships/slideLayout" Target="../slideLayouts/slideLayout10.xml"/><Relationship Id="rId16" Type="http://schemas.openxmlformats.org/officeDocument/2006/relationships/slideLayout" Target="../slideLayouts/slideLayout24.xml"/><Relationship Id="rId20" Type="http://schemas.openxmlformats.org/officeDocument/2006/relationships/slideLayout" Target="../slideLayouts/slideLayout28.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24" Type="http://schemas.openxmlformats.org/officeDocument/2006/relationships/slideLayout" Target="../slideLayouts/slideLayout32.xml"/><Relationship Id="rId5" Type="http://schemas.openxmlformats.org/officeDocument/2006/relationships/slideLayout" Target="../slideLayouts/slideLayout13.xml"/><Relationship Id="rId15" Type="http://schemas.openxmlformats.org/officeDocument/2006/relationships/slideLayout" Target="../slideLayouts/slideLayout23.xml"/><Relationship Id="rId23" Type="http://schemas.openxmlformats.org/officeDocument/2006/relationships/slideLayout" Target="../slideLayouts/slideLayout31.xml"/><Relationship Id="rId28" Type="http://schemas.openxmlformats.org/officeDocument/2006/relationships/image" Target="../media/image3.png"/><Relationship Id="rId10" Type="http://schemas.openxmlformats.org/officeDocument/2006/relationships/slideLayout" Target="../slideLayouts/slideLayout18.xml"/><Relationship Id="rId19" Type="http://schemas.openxmlformats.org/officeDocument/2006/relationships/slideLayout" Target="../slideLayouts/slideLayout27.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slideLayout" Target="../slideLayouts/slideLayout22.xml"/><Relationship Id="rId22" Type="http://schemas.openxmlformats.org/officeDocument/2006/relationships/slideLayout" Target="../slideLayouts/slideLayout30.xml"/><Relationship Id="rId27"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slideLayout" Target="../slideLayouts/slideLayout58.xml"/><Relationship Id="rId39" Type="http://schemas.openxmlformats.org/officeDocument/2006/relationships/slideLayout" Target="../slideLayouts/slideLayout71.xml"/><Relationship Id="rId21" Type="http://schemas.openxmlformats.org/officeDocument/2006/relationships/slideLayout" Target="../slideLayouts/slideLayout53.xml"/><Relationship Id="rId34" Type="http://schemas.openxmlformats.org/officeDocument/2006/relationships/slideLayout" Target="../slideLayouts/slideLayout66.xml"/><Relationship Id="rId7" Type="http://schemas.openxmlformats.org/officeDocument/2006/relationships/slideLayout" Target="../slideLayouts/slideLayout39.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29" Type="http://schemas.openxmlformats.org/officeDocument/2006/relationships/slideLayout" Target="../slideLayouts/slideLayout61.xml"/><Relationship Id="rId41" Type="http://schemas.openxmlformats.org/officeDocument/2006/relationships/theme" Target="../theme/theme3.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32" Type="http://schemas.openxmlformats.org/officeDocument/2006/relationships/slideLayout" Target="../slideLayouts/slideLayout64.xml"/><Relationship Id="rId37" Type="http://schemas.openxmlformats.org/officeDocument/2006/relationships/slideLayout" Target="../slideLayouts/slideLayout69.xml"/><Relationship Id="rId40" Type="http://schemas.openxmlformats.org/officeDocument/2006/relationships/slideLayout" Target="../slideLayouts/slideLayout72.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28" Type="http://schemas.openxmlformats.org/officeDocument/2006/relationships/slideLayout" Target="../slideLayouts/slideLayout60.xml"/><Relationship Id="rId36" Type="http://schemas.openxmlformats.org/officeDocument/2006/relationships/slideLayout" Target="../slideLayouts/slideLayout68.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31" Type="http://schemas.openxmlformats.org/officeDocument/2006/relationships/slideLayout" Target="../slideLayouts/slideLayout63.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 Id="rId27" Type="http://schemas.openxmlformats.org/officeDocument/2006/relationships/slideLayout" Target="../slideLayouts/slideLayout59.xml"/><Relationship Id="rId30" Type="http://schemas.openxmlformats.org/officeDocument/2006/relationships/slideLayout" Target="../slideLayouts/slideLayout62.xml"/><Relationship Id="rId35" Type="http://schemas.openxmlformats.org/officeDocument/2006/relationships/slideLayout" Target="../slideLayouts/slideLayout67.xml"/><Relationship Id="rId8" Type="http://schemas.openxmlformats.org/officeDocument/2006/relationships/slideLayout" Target="../slideLayouts/slideLayout40.xml"/><Relationship Id="rId3" Type="http://schemas.openxmlformats.org/officeDocument/2006/relationships/slideLayout" Target="../slideLayouts/slideLayout35.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slideLayout" Target="../slideLayouts/slideLayout57.xml"/><Relationship Id="rId33" Type="http://schemas.openxmlformats.org/officeDocument/2006/relationships/slideLayout" Target="../slideLayouts/slideLayout65.xml"/><Relationship Id="rId38" Type="http://schemas.openxmlformats.org/officeDocument/2006/relationships/slideLayout" Target="../slideLayouts/slideLayout70.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85.xml"/><Relationship Id="rId18" Type="http://schemas.openxmlformats.org/officeDocument/2006/relationships/slideLayout" Target="../slideLayouts/slideLayout90.xml"/><Relationship Id="rId26" Type="http://schemas.openxmlformats.org/officeDocument/2006/relationships/slideLayout" Target="../slideLayouts/slideLayout98.xml"/><Relationship Id="rId21" Type="http://schemas.openxmlformats.org/officeDocument/2006/relationships/slideLayout" Target="../slideLayouts/slideLayout93.xml"/><Relationship Id="rId34" Type="http://schemas.openxmlformats.org/officeDocument/2006/relationships/slideLayout" Target="../slideLayouts/slideLayout106.xml"/><Relationship Id="rId7" Type="http://schemas.openxmlformats.org/officeDocument/2006/relationships/slideLayout" Target="../slideLayouts/slideLayout79.xml"/><Relationship Id="rId12" Type="http://schemas.openxmlformats.org/officeDocument/2006/relationships/slideLayout" Target="../slideLayouts/slideLayout84.xml"/><Relationship Id="rId17" Type="http://schemas.openxmlformats.org/officeDocument/2006/relationships/slideLayout" Target="../slideLayouts/slideLayout89.xml"/><Relationship Id="rId25" Type="http://schemas.openxmlformats.org/officeDocument/2006/relationships/slideLayout" Target="../slideLayouts/slideLayout97.xml"/><Relationship Id="rId33" Type="http://schemas.openxmlformats.org/officeDocument/2006/relationships/slideLayout" Target="../slideLayouts/slideLayout105.xml"/><Relationship Id="rId38" Type="http://schemas.openxmlformats.org/officeDocument/2006/relationships/theme" Target="../theme/theme4.xml"/><Relationship Id="rId2" Type="http://schemas.openxmlformats.org/officeDocument/2006/relationships/slideLayout" Target="../slideLayouts/slideLayout74.xml"/><Relationship Id="rId16" Type="http://schemas.openxmlformats.org/officeDocument/2006/relationships/slideLayout" Target="../slideLayouts/slideLayout88.xml"/><Relationship Id="rId20" Type="http://schemas.openxmlformats.org/officeDocument/2006/relationships/slideLayout" Target="../slideLayouts/slideLayout92.xml"/><Relationship Id="rId29" Type="http://schemas.openxmlformats.org/officeDocument/2006/relationships/slideLayout" Target="../slideLayouts/slideLayout101.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24" Type="http://schemas.openxmlformats.org/officeDocument/2006/relationships/slideLayout" Target="../slideLayouts/slideLayout96.xml"/><Relationship Id="rId32" Type="http://schemas.openxmlformats.org/officeDocument/2006/relationships/slideLayout" Target="../slideLayouts/slideLayout104.xml"/><Relationship Id="rId37" Type="http://schemas.openxmlformats.org/officeDocument/2006/relationships/slideLayout" Target="../slideLayouts/slideLayout109.xml"/><Relationship Id="rId5" Type="http://schemas.openxmlformats.org/officeDocument/2006/relationships/slideLayout" Target="../slideLayouts/slideLayout77.xml"/><Relationship Id="rId15" Type="http://schemas.openxmlformats.org/officeDocument/2006/relationships/slideLayout" Target="../slideLayouts/slideLayout87.xml"/><Relationship Id="rId23" Type="http://schemas.openxmlformats.org/officeDocument/2006/relationships/slideLayout" Target="../slideLayouts/slideLayout95.xml"/><Relationship Id="rId28" Type="http://schemas.openxmlformats.org/officeDocument/2006/relationships/slideLayout" Target="../slideLayouts/slideLayout100.xml"/><Relationship Id="rId36" Type="http://schemas.openxmlformats.org/officeDocument/2006/relationships/slideLayout" Target="../slideLayouts/slideLayout108.xml"/><Relationship Id="rId10" Type="http://schemas.openxmlformats.org/officeDocument/2006/relationships/slideLayout" Target="../slideLayouts/slideLayout82.xml"/><Relationship Id="rId19" Type="http://schemas.openxmlformats.org/officeDocument/2006/relationships/slideLayout" Target="../slideLayouts/slideLayout91.xml"/><Relationship Id="rId31" Type="http://schemas.openxmlformats.org/officeDocument/2006/relationships/slideLayout" Target="../slideLayouts/slideLayout103.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 Id="rId22" Type="http://schemas.openxmlformats.org/officeDocument/2006/relationships/slideLayout" Target="../slideLayouts/slideLayout94.xml"/><Relationship Id="rId27" Type="http://schemas.openxmlformats.org/officeDocument/2006/relationships/slideLayout" Target="../slideLayouts/slideLayout99.xml"/><Relationship Id="rId30" Type="http://schemas.openxmlformats.org/officeDocument/2006/relationships/slideLayout" Target="../slideLayouts/slideLayout102.xml"/><Relationship Id="rId35" Type="http://schemas.openxmlformats.org/officeDocument/2006/relationships/slideLayout" Target="../slideLayouts/slideLayout107.xml"/><Relationship Id="rId8" Type="http://schemas.openxmlformats.org/officeDocument/2006/relationships/slideLayout" Target="../slideLayouts/slideLayout80.xml"/><Relationship Id="rId3" Type="http://schemas.openxmlformats.org/officeDocument/2006/relationships/slideLayout" Target="../slideLayouts/slideLayout7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es-MX" noProof="0"/>
              <a:t>CLICK TO INSERT TITLE</a:t>
            </a:r>
          </a:p>
        </p:txBody>
      </p:sp>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Autofit/>
          </a:bodyPr>
          <a:lstStyle/>
          <a:p>
            <a:pPr lvl="0"/>
            <a:r>
              <a:rPr lang="es-MX" noProof="0"/>
              <a:t>Cliquez pour modifier les styles du texte du masque</a:t>
            </a:r>
          </a:p>
          <a:p>
            <a:pPr lvl="1"/>
            <a:r>
              <a:rPr lang="es-MX" noProof="0"/>
              <a:t>Deuxième niveau</a:t>
            </a:r>
          </a:p>
          <a:p>
            <a:pPr lvl="2"/>
            <a:r>
              <a:rPr lang="es-MX" noProof="0"/>
              <a:t>Troisième niveau</a:t>
            </a:r>
          </a:p>
          <a:p>
            <a:pPr lvl="3"/>
            <a:r>
              <a:rPr lang="es-MX" noProof="0"/>
              <a:t>Quatrième niveau</a:t>
            </a:r>
          </a:p>
          <a:p>
            <a:pPr lvl="4"/>
            <a:r>
              <a:rPr lang="es-MX" noProof="0"/>
              <a:t>Cinquième niveau</a:t>
            </a:r>
          </a:p>
        </p:txBody>
      </p:sp>
      <p:sp>
        <p:nvSpPr>
          <p:cNvPr id="100" name="Rectangle 27">
            <a:extLst>
              <a:ext uri="{FF2B5EF4-FFF2-40B4-BE49-F238E27FC236}">
                <a16:creationId xmlns:a16="http://schemas.microsoft.com/office/drawing/2014/main" id="{777F4691-2D56-47C4-B2B1-73BE348DB06D}"/>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Company Confidential © Capgemini 2023. All rights reserved  |</a:t>
            </a:r>
          </a:p>
        </p:txBody>
      </p:sp>
      <p:sp>
        <p:nvSpPr>
          <p:cNvPr id="99" name="Rectangle 43">
            <a:extLst>
              <a:ext uri="{FF2B5EF4-FFF2-40B4-BE49-F238E27FC236}">
                <a16:creationId xmlns:a16="http://schemas.microsoft.com/office/drawing/2014/main" id="{1302EB1D-4F45-4228-A725-9CA0AEFCE017}"/>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a:solidFill>
                <a:srgbClr val="A6A6A6"/>
              </a:solidFill>
              <a:latin typeface="Ubuntu" panose="020B0504030602030204" pitchFamily="34" charset="0"/>
              <a:cs typeface="Arial" panose="020B0604020202020204" pitchFamily="34" charset="0"/>
            </a:endParaRPr>
          </a:p>
        </p:txBody>
      </p:sp>
      <p:grpSp>
        <p:nvGrpSpPr>
          <p:cNvPr id="2" name="Group 1">
            <a:extLst>
              <a:ext uri="{FF2B5EF4-FFF2-40B4-BE49-F238E27FC236}">
                <a16:creationId xmlns:a16="http://schemas.microsoft.com/office/drawing/2014/main" id="{23F4E69E-770B-6C7A-4F9F-A77267F6992C}"/>
              </a:ext>
            </a:extLst>
          </p:cNvPr>
          <p:cNvGrpSpPr>
            <a:grpSpLocks noChangeAspect="1"/>
          </p:cNvGrpSpPr>
          <p:nvPr userDrawn="1"/>
        </p:nvGrpSpPr>
        <p:grpSpPr>
          <a:xfrm>
            <a:off x="9341963" y="130056"/>
            <a:ext cx="2782257" cy="599598"/>
            <a:chOff x="8647708" y="251977"/>
            <a:chExt cx="3325683" cy="716711"/>
          </a:xfrm>
        </p:grpSpPr>
        <p:cxnSp>
          <p:nvCxnSpPr>
            <p:cNvPr id="8" name="Straight Connector 7">
              <a:extLst>
                <a:ext uri="{FF2B5EF4-FFF2-40B4-BE49-F238E27FC236}">
                  <a16:creationId xmlns:a16="http://schemas.microsoft.com/office/drawing/2014/main" id="{19F0ABA6-08E3-B77B-10D0-B52B1EB7E04E}"/>
                </a:ext>
              </a:extLst>
            </p:cNvPr>
            <p:cNvCxnSpPr>
              <a:cxnSpLocks/>
            </p:cNvCxnSpPr>
            <p:nvPr userDrawn="1"/>
          </p:nvCxnSpPr>
          <p:spPr>
            <a:xfrm>
              <a:off x="9968157" y="381378"/>
              <a:ext cx="0" cy="273043"/>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0" name="Image 5" descr="Une image contenant texte&#10;&#10;Description générée automatiquement">
              <a:extLst>
                <a:ext uri="{FF2B5EF4-FFF2-40B4-BE49-F238E27FC236}">
                  <a16:creationId xmlns:a16="http://schemas.microsoft.com/office/drawing/2014/main" id="{C6D75FC0-35DA-AE32-3BEF-03763B0B4C76}"/>
                </a:ext>
              </a:extLst>
            </p:cNvPr>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8647708" y="264360"/>
              <a:ext cx="1236678" cy="611451"/>
            </a:xfrm>
            <a:prstGeom prst="rect">
              <a:avLst/>
            </a:prstGeom>
          </p:spPr>
        </p:pic>
        <p:pic>
          <p:nvPicPr>
            <p:cNvPr id="11" name="Picture 12" descr="Seguros Monterrey New York Life - Logo">
              <a:extLst>
                <a:ext uri="{FF2B5EF4-FFF2-40B4-BE49-F238E27FC236}">
                  <a16:creationId xmlns:a16="http://schemas.microsoft.com/office/drawing/2014/main" id="{9DE15008-9889-8EF8-06DD-B74F812278FD}"/>
                </a:ext>
              </a:extLst>
            </p:cNvPr>
            <p:cNvPicPr>
              <a:picLocks noChangeAspect="1" noChangeArrowheads="1"/>
            </p:cNvPicPr>
            <p:nvPr userDrawn="1"/>
          </p:nvPicPr>
          <p:blipFill>
            <a:blip r:embed="rId11" cstate="screen">
              <a:extLst>
                <a:ext uri="{28A0092B-C50C-407E-A947-70E740481C1C}">
                  <a14:useLocalDpi xmlns:a14="http://schemas.microsoft.com/office/drawing/2010/main"/>
                </a:ext>
              </a:extLst>
            </a:blip>
            <a:srcRect/>
            <a:stretch>
              <a:fillRect/>
            </a:stretch>
          </p:blipFill>
          <p:spPr bwMode="auto">
            <a:xfrm>
              <a:off x="10751124" y="400982"/>
              <a:ext cx="1222267" cy="272973"/>
            </a:xfrm>
            <a:prstGeom prst="rect">
              <a:avLst/>
            </a:prstGeom>
            <a:noFill/>
            <a:extLst>
              <a:ext uri="{909E8E84-426E-40DD-AFC4-6F175D3DCCD1}">
                <a14:hiddenFill xmlns:a14="http://schemas.microsoft.com/office/drawing/2010/main">
                  <a:solidFill>
                    <a:srgbClr val="FFFFFF"/>
                  </a:solidFill>
                </a14:hiddenFill>
              </a:ext>
            </a:extLst>
          </p:spPr>
        </p:pic>
        <p:cxnSp>
          <p:nvCxnSpPr>
            <p:cNvPr id="13" name="Straight Connector 12">
              <a:extLst>
                <a:ext uri="{FF2B5EF4-FFF2-40B4-BE49-F238E27FC236}">
                  <a16:creationId xmlns:a16="http://schemas.microsoft.com/office/drawing/2014/main" id="{9EEA74BC-C6DD-692E-16BA-0E72AC5CCF69}"/>
                </a:ext>
              </a:extLst>
            </p:cNvPr>
            <p:cNvCxnSpPr>
              <a:cxnSpLocks/>
            </p:cNvCxnSpPr>
            <p:nvPr userDrawn="1"/>
          </p:nvCxnSpPr>
          <p:spPr>
            <a:xfrm>
              <a:off x="10600346" y="381378"/>
              <a:ext cx="0" cy="273043"/>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45C4A33C-68A3-ABD6-F636-ADBD14C7A730}"/>
                </a:ext>
              </a:extLst>
            </p:cNvPr>
            <p:cNvPicPr>
              <a:picLocks noChangeAspect="1"/>
            </p:cNvPicPr>
            <p:nvPr userDrawn="1"/>
          </p:nvPicPr>
          <p:blipFill rotWithShape="1">
            <a:blip r:embed="rId12" cstate="screen">
              <a:extLst>
                <a:ext uri="{28A0092B-C50C-407E-A947-70E740481C1C}">
                  <a14:useLocalDpi xmlns:a14="http://schemas.microsoft.com/office/drawing/2010/main"/>
                </a:ext>
              </a:extLst>
            </a:blip>
            <a:srcRect b="-8502"/>
            <a:stretch/>
          </p:blipFill>
          <p:spPr>
            <a:xfrm>
              <a:off x="10068679" y="251977"/>
              <a:ext cx="463679" cy="716711"/>
            </a:xfrm>
            <a:prstGeom prst="rect">
              <a:avLst/>
            </a:prstGeom>
          </p:spPr>
        </p:pic>
      </p:grpSp>
      <p:sp>
        <p:nvSpPr>
          <p:cNvPr id="3" name="Rectangle 27">
            <a:extLst>
              <a:ext uri="{FF2B5EF4-FFF2-40B4-BE49-F238E27FC236}">
                <a16:creationId xmlns:a16="http://schemas.microsoft.com/office/drawing/2014/main" id="{881EA6F9-ACE0-6436-35A3-B2037232D58F}"/>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Capgemini | AWS | SMNYL – Innovation Day</a:t>
            </a:r>
          </a:p>
        </p:txBody>
      </p:sp>
    </p:spTree>
    <p:extLst>
      <p:ext uri="{BB962C8B-B14F-4D97-AF65-F5344CB8AC3E}">
        <p14:creationId xmlns:p14="http://schemas.microsoft.com/office/powerpoint/2010/main" val="174937939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10" pos="7423">
          <p15:clr>
            <a:srgbClr val="F26B43"/>
          </p15:clr>
        </p15:guide>
        <p15:guide id="11" orient="horz" pos="4071">
          <p15:clr>
            <a:srgbClr val="F26B43"/>
          </p15:clr>
        </p15:guide>
        <p15:guide id="12" pos="255">
          <p15:clr>
            <a:srgbClr val="F26B43"/>
          </p15:clr>
        </p15:guide>
        <p15:guide id="13" orient="horz" pos="836">
          <p15:clr>
            <a:srgbClr val="F26B43"/>
          </p15:clr>
        </p15:guide>
        <p15:guide id="14" orient="horz" pos="245">
          <p15:clr>
            <a:srgbClr val="F26B43"/>
          </p15:clr>
        </p15:guide>
        <p15:guide id="15" pos="3840">
          <p15:clr>
            <a:srgbClr val="F26B43"/>
          </p15:clr>
        </p15:guide>
        <p15:guide id="16" pos="3899">
          <p15:clr>
            <a:srgbClr val="F26B43"/>
          </p15:clr>
        </p15:guide>
        <p15:guide id="17" pos="378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00" name="Rectangle 27">
            <a:extLst>
              <a:ext uri="{FF2B5EF4-FFF2-40B4-BE49-F238E27FC236}">
                <a16:creationId xmlns:a16="http://schemas.microsoft.com/office/drawing/2014/main" id="{777F4691-2D56-47C4-B2B1-73BE348DB06D}"/>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rgbClr val="A6A6A6"/>
                </a:solidFill>
                <a:latin typeface="Ubuntu" panose="020B0504030602030204" pitchFamily="34" charset="0"/>
                <a:cs typeface="Arial" panose="020B0604020202020204" pitchFamily="34" charset="0"/>
              </a:rPr>
              <a:t>Company Confidential © Capgemini 2023. All rights reserved  |</a:t>
            </a:r>
          </a:p>
        </p:txBody>
      </p:sp>
      <p:sp>
        <p:nvSpPr>
          <p:cNvPr id="99" name="Rectangle 43">
            <a:extLst>
              <a:ext uri="{FF2B5EF4-FFF2-40B4-BE49-F238E27FC236}">
                <a16:creationId xmlns:a16="http://schemas.microsoft.com/office/drawing/2014/main" id="{1302EB1D-4F45-4228-A725-9CA0AEFCE017}"/>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a:solidFill>
                <a:srgbClr val="A6A6A6"/>
              </a:solidFill>
              <a:latin typeface="Ubuntu" panose="020B0504030602030204" pitchFamily="34" charset="0"/>
              <a:cs typeface="Arial" panose="020B0604020202020204" pitchFamily="34" charset="0"/>
            </a:endParaRPr>
          </a:p>
        </p:txBody>
      </p:sp>
      <p:grpSp>
        <p:nvGrpSpPr>
          <p:cNvPr id="2" name="Group 1">
            <a:extLst>
              <a:ext uri="{FF2B5EF4-FFF2-40B4-BE49-F238E27FC236}">
                <a16:creationId xmlns:a16="http://schemas.microsoft.com/office/drawing/2014/main" id="{35E33B1A-21BA-23B1-DD8B-0D05C43454B4}"/>
              </a:ext>
            </a:extLst>
          </p:cNvPr>
          <p:cNvGrpSpPr/>
          <p:nvPr userDrawn="1"/>
        </p:nvGrpSpPr>
        <p:grpSpPr>
          <a:xfrm>
            <a:off x="8647708" y="251977"/>
            <a:ext cx="3325683" cy="716711"/>
            <a:chOff x="8647708" y="251977"/>
            <a:chExt cx="3325683" cy="716711"/>
          </a:xfrm>
        </p:grpSpPr>
        <p:cxnSp>
          <p:nvCxnSpPr>
            <p:cNvPr id="3" name="Straight Connector 2">
              <a:extLst>
                <a:ext uri="{FF2B5EF4-FFF2-40B4-BE49-F238E27FC236}">
                  <a16:creationId xmlns:a16="http://schemas.microsoft.com/office/drawing/2014/main" id="{16593798-4015-A6E4-50AF-8F5B46B8C566}"/>
                </a:ext>
              </a:extLst>
            </p:cNvPr>
            <p:cNvCxnSpPr>
              <a:cxnSpLocks/>
            </p:cNvCxnSpPr>
            <p:nvPr userDrawn="1"/>
          </p:nvCxnSpPr>
          <p:spPr>
            <a:xfrm>
              <a:off x="9968157" y="381378"/>
              <a:ext cx="0" cy="273043"/>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5" name="Image 5" descr="Une image contenant texte&#10;&#10;Description générée automatiquement">
              <a:extLst>
                <a:ext uri="{FF2B5EF4-FFF2-40B4-BE49-F238E27FC236}">
                  <a16:creationId xmlns:a16="http://schemas.microsoft.com/office/drawing/2014/main" id="{64AC3FA8-F256-DD55-FC49-1088FC7A1F12}"/>
                </a:ext>
              </a:extLst>
            </p:cNvPr>
            <p:cNvPicPr>
              <a:picLocks noChangeAspect="1"/>
            </p:cNvPicPr>
            <p:nvPr userDrawn="1"/>
          </p:nvPicPr>
          <p:blipFill rotWithShape="1">
            <a:blip r:embed="rId26" cstate="screen">
              <a:extLst>
                <a:ext uri="{28A0092B-C50C-407E-A947-70E740481C1C}">
                  <a14:useLocalDpi xmlns:a14="http://schemas.microsoft.com/office/drawing/2010/main"/>
                </a:ext>
              </a:extLst>
            </a:blip>
            <a:srcRect/>
            <a:stretch/>
          </p:blipFill>
          <p:spPr>
            <a:xfrm>
              <a:off x="8647708" y="264360"/>
              <a:ext cx="1236678" cy="611451"/>
            </a:xfrm>
            <a:prstGeom prst="rect">
              <a:avLst/>
            </a:prstGeom>
          </p:spPr>
        </p:pic>
        <p:pic>
          <p:nvPicPr>
            <p:cNvPr id="6" name="Picture 12" descr="Seguros Monterrey New York Life - Logo">
              <a:extLst>
                <a:ext uri="{FF2B5EF4-FFF2-40B4-BE49-F238E27FC236}">
                  <a16:creationId xmlns:a16="http://schemas.microsoft.com/office/drawing/2014/main" id="{21CF934B-DE7F-FE02-8946-D7E98C7C32B0}"/>
                </a:ext>
              </a:extLst>
            </p:cNvPr>
            <p:cNvPicPr>
              <a:picLocks noChangeAspect="1" noChangeArrowheads="1"/>
            </p:cNvPicPr>
            <p:nvPr userDrawn="1"/>
          </p:nvPicPr>
          <p:blipFill>
            <a:blip r:embed="rId27" cstate="screen">
              <a:extLst>
                <a:ext uri="{28A0092B-C50C-407E-A947-70E740481C1C}">
                  <a14:useLocalDpi xmlns:a14="http://schemas.microsoft.com/office/drawing/2010/main"/>
                </a:ext>
              </a:extLst>
            </a:blip>
            <a:srcRect/>
            <a:stretch>
              <a:fillRect/>
            </a:stretch>
          </p:blipFill>
          <p:spPr bwMode="auto">
            <a:xfrm>
              <a:off x="10751124" y="400982"/>
              <a:ext cx="1222267" cy="272973"/>
            </a:xfrm>
            <a:prstGeom prst="rect">
              <a:avLst/>
            </a:prstGeom>
            <a:noFill/>
            <a:extLst>
              <a:ext uri="{909E8E84-426E-40DD-AFC4-6F175D3DCCD1}">
                <a14:hiddenFill xmlns:a14="http://schemas.microsoft.com/office/drawing/2010/main">
                  <a:solidFill>
                    <a:srgbClr val="FFFFFF"/>
                  </a:solidFill>
                </a14:hiddenFill>
              </a:ext>
            </a:extLst>
          </p:spPr>
        </p:pic>
        <p:cxnSp>
          <p:nvCxnSpPr>
            <p:cNvPr id="7" name="Straight Connector 6">
              <a:extLst>
                <a:ext uri="{FF2B5EF4-FFF2-40B4-BE49-F238E27FC236}">
                  <a16:creationId xmlns:a16="http://schemas.microsoft.com/office/drawing/2014/main" id="{CA8AE5EC-1E76-991E-9EFA-022ED0E8D2BC}"/>
                </a:ext>
              </a:extLst>
            </p:cNvPr>
            <p:cNvCxnSpPr>
              <a:cxnSpLocks/>
            </p:cNvCxnSpPr>
            <p:nvPr userDrawn="1"/>
          </p:nvCxnSpPr>
          <p:spPr>
            <a:xfrm>
              <a:off x="10600346" y="381378"/>
              <a:ext cx="0" cy="273043"/>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41CA41E7-29B9-B8B8-3C57-6B92B618E2CF}"/>
                </a:ext>
              </a:extLst>
            </p:cNvPr>
            <p:cNvPicPr>
              <a:picLocks noChangeAspect="1"/>
            </p:cNvPicPr>
            <p:nvPr userDrawn="1"/>
          </p:nvPicPr>
          <p:blipFill rotWithShape="1">
            <a:blip r:embed="rId28" cstate="screen">
              <a:extLst>
                <a:ext uri="{28A0092B-C50C-407E-A947-70E740481C1C}">
                  <a14:useLocalDpi xmlns:a14="http://schemas.microsoft.com/office/drawing/2010/main"/>
                </a:ext>
              </a:extLst>
            </a:blip>
            <a:srcRect b="-8502"/>
            <a:stretch/>
          </p:blipFill>
          <p:spPr>
            <a:xfrm>
              <a:off x="10068679" y="251977"/>
              <a:ext cx="463679" cy="716711"/>
            </a:xfrm>
            <a:prstGeom prst="rect">
              <a:avLst/>
            </a:prstGeom>
          </p:spPr>
        </p:pic>
      </p:grpSp>
      <p:sp>
        <p:nvSpPr>
          <p:cNvPr id="10" name="Rectangle 27">
            <a:extLst>
              <a:ext uri="{FF2B5EF4-FFF2-40B4-BE49-F238E27FC236}">
                <a16:creationId xmlns:a16="http://schemas.microsoft.com/office/drawing/2014/main" id="{B23340FB-6FAF-DF16-0A35-4B483BEFDFCA}"/>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a:solidFill>
                  <a:srgbClr val="A6A6A6"/>
                </a:solidFill>
                <a:latin typeface="Ubuntu" panose="020B0504030602030204" pitchFamily="34" charset="0"/>
                <a:cs typeface="Arial" panose="020B0604020202020204" pitchFamily="34" charset="0"/>
              </a:rPr>
              <a:t>Capgemini | AWS | SMNYL – Innovation Day</a:t>
            </a:r>
          </a:p>
        </p:txBody>
      </p:sp>
    </p:spTree>
    <p:extLst>
      <p:ext uri="{BB962C8B-B14F-4D97-AF65-F5344CB8AC3E}">
        <p14:creationId xmlns:p14="http://schemas.microsoft.com/office/powerpoint/2010/main" val="1982953877"/>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 id="2147483681" r:id="rId12"/>
    <p:sldLayoutId id="2147483682" r:id="rId13"/>
    <p:sldLayoutId id="2147483683" r:id="rId14"/>
    <p:sldLayoutId id="2147483684" r:id="rId15"/>
    <p:sldLayoutId id="2147483685" r:id="rId16"/>
    <p:sldLayoutId id="2147483686" r:id="rId17"/>
    <p:sldLayoutId id="2147483687" r:id="rId18"/>
    <p:sldLayoutId id="2147483688" r:id="rId19"/>
    <p:sldLayoutId id="2147483689" r:id="rId20"/>
    <p:sldLayoutId id="2147483690" r:id="rId21"/>
    <p:sldLayoutId id="2147483691" r:id="rId22"/>
    <p:sldLayoutId id="2147483692" r:id="rId23"/>
    <p:sldLayoutId id="2147483693" r:id="rId24"/>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10" pos="7423">
          <p15:clr>
            <a:srgbClr val="F26B43"/>
          </p15:clr>
        </p15:guide>
        <p15:guide id="11" orient="horz" pos="4071">
          <p15:clr>
            <a:srgbClr val="F26B43"/>
          </p15:clr>
        </p15:guide>
        <p15:guide id="12" pos="255">
          <p15:clr>
            <a:srgbClr val="F26B43"/>
          </p15:clr>
        </p15:guide>
        <p15:guide id="13" orient="horz" pos="836">
          <p15:clr>
            <a:srgbClr val="F26B43"/>
          </p15:clr>
        </p15:guide>
        <p15:guide id="14" orient="horz" pos="245">
          <p15:clr>
            <a:srgbClr val="F26B43"/>
          </p15:clr>
        </p15:guide>
        <p15:guide id="15" pos="3840">
          <p15:clr>
            <a:srgbClr val="F26B43"/>
          </p15:clr>
        </p15:guide>
        <p15:guide id="16" pos="3899">
          <p15:clr>
            <a:srgbClr val="F26B43"/>
          </p15:clr>
        </p15:guide>
        <p15:guide id="17" pos="378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t">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grpSp>
        <p:nvGrpSpPr>
          <p:cNvPr id="94" name="Groupe 1">
            <a:extLst>
              <a:ext uri="{FF2B5EF4-FFF2-40B4-BE49-F238E27FC236}">
                <a16:creationId xmlns:a16="http://schemas.microsoft.com/office/drawing/2014/main" id="{11A3E882-4152-49CC-A658-0BA2BD4CCF4E}"/>
              </a:ext>
              <a:ext uri="{C183D7F6-B498-43B3-948B-1728B52AA6E4}">
                <adec:decorative xmlns:adec="http://schemas.microsoft.com/office/drawing/2017/decorative" val="1"/>
              </a:ext>
            </a:extLst>
          </p:cNvPr>
          <p:cNvGrpSpPr>
            <a:grpSpLocks noChangeAspect="1"/>
          </p:cNvGrpSpPr>
          <p:nvPr/>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6" name="Freeform 14">
              <a:extLst>
                <a:ext uri="{FF2B5EF4-FFF2-40B4-BE49-F238E27FC236}">
                  <a16:creationId xmlns:a16="http://schemas.microsoft.com/office/drawing/2014/main" id="{8B6BE8F3-0248-42CC-8053-5B10FA1A6457}"/>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98" name="Rectangle 27">
            <a:extLst>
              <a:ext uri="{FF2B5EF4-FFF2-40B4-BE49-F238E27FC236}">
                <a16:creationId xmlns:a16="http://schemas.microsoft.com/office/drawing/2014/main" id="{B1133F59-1301-4D8F-A396-71B6A669F37A}"/>
              </a:ext>
            </a:extLst>
          </p:cNvPr>
          <p:cNvSpPr/>
          <p:nvPr/>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a:solidFill>
                  <a:srgbClr val="A6A6A6"/>
                </a:solidFill>
                <a:latin typeface="Ubuntu" panose="020B0504030602030204" pitchFamily="34" charset="0"/>
                <a:cs typeface="Arial" panose="020B0604020202020204" pitchFamily="34" charset="0"/>
              </a:rPr>
              <a:t>Presentation Title  |  Author  |  Date</a:t>
            </a:r>
          </a:p>
        </p:txBody>
      </p:sp>
      <p:sp>
        <p:nvSpPr>
          <p:cNvPr id="100" name="Rectangle 27">
            <a:extLst>
              <a:ext uri="{FF2B5EF4-FFF2-40B4-BE49-F238E27FC236}">
                <a16:creationId xmlns:a16="http://schemas.microsoft.com/office/drawing/2014/main" id="{777F4691-2D56-47C4-B2B1-73BE348DB06D}"/>
              </a:ext>
            </a:extLst>
          </p:cNvPr>
          <p:cNvSpPr/>
          <p:nvPr/>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rgbClr val="A6A6A6"/>
                </a:solidFill>
                <a:latin typeface="Ubuntu" panose="020B0504030602030204" pitchFamily="34" charset="0"/>
                <a:cs typeface="Arial" panose="020B0604020202020204" pitchFamily="34" charset="0"/>
              </a:rPr>
              <a:t>Company Confidential © Capgemini 2022. All rights reserved  |</a:t>
            </a:r>
          </a:p>
        </p:txBody>
      </p:sp>
      <p:sp>
        <p:nvSpPr>
          <p:cNvPr id="99" name="Rectangle 43">
            <a:extLst>
              <a:ext uri="{FF2B5EF4-FFF2-40B4-BE49-F238E27FC236}">
                <a16:creationId xmlns:a16="http://schemas.microsoft.com/office/drawing/2014/main" id="{1302EB1D-4F45-4228-A725-9CA0AEFCE017}"/>
              </a:ext>
            </a:extLst>
          </p:cNvPr>
          <p:cNvSpPr/>
          <p:nvPr/>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a:solidFill>
                <a:srgbClr val="A6A6A6"/>
              </a:solidFill>
              <a:latin typeface="Ubuntu" panose="020B0504030602030204" pitchFamily="34" charset="0"/>
              <a:cs typeface="Arial" panose="020B0604020202020204" pitchFamily="34" charset="0"/>
            </a:endParaRPr>
          </a:p>
        </p:txBody>
      </p:sp>
    </p:spTree>
    <p:extLst>
      <p:ext uri="{BB962C8B-B14F-4D97-AF65-F5344CB8AC3E}">
        <p14:creationId xmlns:p14="http://schemas.microsoft.com/office/powerpoint/2010/main" val="2928838905"/>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 id="2147483706" r:id="rId12"/>
    <p:sldLayoutId id="2147483707" r:id="rId13"/>
    <p:sldLayoutId id="2147483708" r:id="rId14"/>
    <p:sldLayoutId id="2147483709" r:id="rId15"/>
    <p:sldLayoutId id="2147483710" r:id="rId16"/>
    <p:sldLayoutId id="2147483711" r:id="rId17"/>
    <p:sldLayoutId id="2147483712" r:id="rId18"/>
    <p:sldLayoutId id="2147483713" r:id="rId19"/>
    <p:sldLayoutId id="2147483714" r:id="rId20"/>
    <p:sldLayoutId id="2147483715" r:id="rId21"/>
    <p:sldLayoutId id="2147483716" r:id="rId22"/>
    <p:sldLayoutId id="2147483717" r:id="rId23"/>
    <p:sldLayoutId id="2147483718" r:id="rId24"/>
    <p:sldLayoutId id="2147483719" r:id="rId25"/>
    <p:sldLayoutId id="2147483720" r:id="rId26"/>
    <p:sldLayoutId id="2147483721" r:id="rId27"/>
    <p:sldLayoutId id="2147483722" r:id="rId28"/>
    <p:sldLayoutId id="2147483723" r:id="rId29"/>
    <p:sldLayoutId id="2147483724" r:id="rId30"/>
    <p:sldLayoutId id="2147483725" r:id="rId31"/>
    <p:sldLayoutId id="2147483726" r:id="rId32"/>
    <p:sldLayoutId id="2147483727" r:id="rId33"/>
    <p:sldLayoutId id="2147483728" r:id="rId34"/>
    <p:sldLayoutId id="2147483729" r:id="rId35"/>
    <p:sldLayoutId id="2147483730" r:id="rId36"/>
    <p:sldLayoutId id="2147483731" r:id="rId37"/>
    <p:sldLayoutId id="2147483732" r:id="rId38"/>
    <p:sldLayoutId id="2147483733" r:id="rId39"/>
    <p:sldLayoutId id="2147483734" r:id="rId4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10" pos="7423">
          <p15:clr>
            <a:srgbClr val="F26B43"/>
          </p15:clr>
        </p15:guide>
        <p15:guide id="11" orient="horz" pos="4071">
          <p15:clr>
            <a:srgbClr val="F26B43"/>
          </p15:clr>
        </p15:guide>
        <p15:guide id="12" pos="255">
          <p15:clr>
            <a:srgbClr val="F26B43"/>
          </p15:clr>
        </p15:guide>
        <p15:guide id="13" orient="horz" pos="836">
          <p15:clr>
            <a:srgbClr val="F26B43"/>
          </p15:clr>
        </p15:guide>
        <p15:guide id="14" orient="horz" pos="245">
          <p15:clr>
            <a:srgbClr val="F26B43"/>
          </p15:clr>
        </p15:guide>
        <p15:guide id="15" pos="3840">
          <p15:clr>
            <a:srgbClr val="F26B43"/>
          </p15:clr>
        </p15:guide>
        <p15:guide id="16" pos="3899">
          <p15:clr>
            <a:srgbClr val="F26B43"/>
          </p15:clr>
        </p15:guide>
        <p15:guide id="17" pos="378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00" name="Rectangle 27">
            <a:extLst>
              <a:ext uri="{FF2B5EF4-FFF2-40B4-BE49-F238E27FC236}">
                <a16:creationId xmlns:a16="http://schemas.microsoft.com/office/drawing/2014/main" id="{777F4691-2D56-47C4-B2B1-73BE348DB06D}"/>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rgbClr val="A6A6A6"/>
                </a:solidFill>
                <a:latin typeface="Ubuntu" panose="020B0504030602030204" pitchFamily="34" charset="0"/>
                <a:cs typeface="Arial" panose="020B0604020202020204" pitchFamily="34" charset="0"/>
              </a:rPr>
              <a:t>Company Confidential © Capgemini 2022. All rights reserved  |</a:t>
            </a:r>
          </a:p>
        </p:txBody>
      </p:sp>
      <p:sp>
        <p:nvSpPr>
          <p:cNvPr id="99" name="Rectangle 43">
            <a:extLst>
              <a:ext uri="{FF2B5EF4-FFF2-40B4-BE49-F238E27FC236}">
                <a16:creationId xmlns:a16="http://schemas.microsoft.com/office/drawing/2014/main" id="{1302EB1D-4F45-4228-A725-9CA0AEFCE017}"/>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a:solidFill>
                <a:srgbClr val="A6A6A6"/>
              </a:solidFill>
              <a:latin typeface="Ubuntu" panose="020B0504030602030204" pitchFamily="34" charset="0"/>
              <a:cs typeface="Arial" panose="020B0604020202020204" pitchFamily="34" charset="0"/>
            </a:endParaRPr>
          </a:p>
        </p:txBody>
      </p:sp>
      <p:sp>
        <p:nvSpPr>
          <p:cNvPr id="10" name="Rectangle 27">
            <a:extLst>
              <a:ext uri="{FF2B5EF4-FFF2-40B4-BE49-F238E27FC236}">
                <a16:creationId xmlns:a16="http://schemas.microsoft.com/office/drawing/2014/main" id="{9E80F0ED-2D41-4D04-2B55-71154970D685}"/>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a:solidFill>
                  <a:srgbClr val="A6A6A6"/>
                </a:solidFill>
                <a:latin typeface="Ubuntu" panose="020B0504030602030204" pitchFamily="34" charset="0"/>
                <a:cs typeface="Arial" panose="020B0604020202020204" pitchFamily="34" charset="0"/>
              </a:rPr>
              <a:t>Capgemini | AWS | SMNYL – Innovation Day</a:t>
            </a:r>
          </a:p>
        </p:txBody>
      </p:sp>
    </p:spTree>
    <p:extLst>
      <p:ext uri="{BB962C8B-B14F-4D97-AF65-F5344CB8AC3E}">
        <p14:creationId xmlns:p14="http://schemas.microsoft.com/office/powerpoint/2010/main" val="1238582312"/>
      </p:ext>
    </p:extLst>
  </p:cSld>
  <p:clrMap bg1="lt1" tx1="dk1" bg2="lt2" tx2="dk2" accent1="accent1" accent2="accent2" accent3="accent3" accent4="accent4" accent5="accent5" accent6="accent6" hlink="hlink" folHlink="folHlink"/>
  <p:sldLayoutIdLst>
    <p:sldLayoutId id="2147483736" r:id="rId1"/>
    <p:sldLayoutId id="2147483737" r:id="rId2"/>
    <p:sldLayoutId id="2147483738" r:id="rId3"/>
    <p:sldLayoutId id="2147483739" r:id="rId4"/>
    <p:sldLayoutId id="2147483740" r:id="rId5"/>
    <p:sldLayoutId id="2147483741" r:id="rId6"/>
    <p:sldLayoutId id="2147483742" r:id="rId7"/>
    <p:sldLayoutId id="2147483743" r:id="rId8"/>
    <p:sldLayoutId id="2147483744" r:id="rId9"/>
    <p:sldLayoutId id="2147483745" r:id="rId10"/>
    <p:sldLayoutId id="2147483746" r:id="rId11"/>
    <p:sldLayoutId id="2147483747" r:id="rId12"/>
    <p:sldLayoutId id="2147483748" r:id="rId13"/>
    <p:sldLayoutId id="2147483749" r:id="rId14"/>
    <p:sldLayoutId id="2147483750" r:id="rId15"/>
    <p:sldLayoutId id="2147483751" r:id="rId16"/>
    <p:sldLayoutId id="2147483752" r:id="rId17"/>
    <p:sldLayoutId id="2147483753" r:id="rId18"/>
    <p:sldLayoutId id="2147483754" r:id="rId19"/>
    <p:sldLayoutId id="2147483755" r:id="rId20"/>
    <p:sldLayoutId id="2147483756" r:id="rId21"/>
    <p:sldLayoutId id="2147483757" r:id="rId22"/>
    <p:sldLayoutId id="2147483758" r:id="rId23"/>
    <p:sldLayoutId id="2147483759" r:id="rId24"/>
    <p:sldLayoutId id="2147483760" r:id="rId25"/>
    <p:sldLayoutId id="2147483761" r:id="rId26"/>
    <p:sldLayoutId id="2147483762" r:id="rId27"/>
    <p:sldLayoutId id="2147483763" r:id="rId28"/>
    <p:sldLayoutId id="2147483764" r:id="rId29"/>
    <p:sldLayoutId id="2147483765" r:id="rId30"/>
    <p:sldLayoutId id="2147483766" r:id="rId31"/>
    <p:sldLayoutId id="2147483767" r:id="rId32"/>
    <p:sldLayoutId id="2147483768" r:id="rId33"/>
    <p:sldLayoutId id="2147483769" r:id="rId34"/>
    <p:sldLayoutId id="2147483770" r:id="rId35"/>
    <p:sldLayoutId id="2147483771" r:id="rId36"/>
    <p:sldLayoutId id="2147483772" r:id="rId37"/>
  </p:sldLayoutIdLst>
  <p:transition spd="slow">
    <p:push dir="u"/>
  </p:transition>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10" pos="7423">
          <p15:clr>
            <a:srgbClr val="F26B43"/>
          </p15:clr>
        </p15:guide>
        <p15:guide id="11" orient="horz" pos="4071">
          <p15:clr>
            <a:srgbClr val="F26B43"/>
          </p15:clr>
        </p15:guide>
        <p15:guide id="12" pos="255">
          <p15:clr>
            <a:srgbClr val="F26B43"/>
          </p15:clr>
        </p15:guide>
        <p15:guide id="13" orient="horz" pos="836">
          <p15:clr>
            <a:srgbClr val="F26B43"/>
          </p15:clr>
        </p15:guide>
        <p15:guide id="14" orient="horz" pos="245">
          <p15:clr>
            <a:srgbClr val="F26B43"/>
          </p15:clr>
        </p15:guide>
        <p15:guide id="15" pos="3840">
          <p15:clr>
            <a:srgbClr val="F26B43"/>
          </p15:clr>
        </p15:guide>
        <p15:guide id="16" pos="3899">
          <p15:clr>
            <a:srgbClr val="F26B43"/>
          </p15:clr>
        </p15:guide>
        <p15:guide id="17" pos="3783">
          <p15:clr>
            <a:srgbClr val="F26B43"/>
          </p15:clr>
        </p15:guide>
      </p15:sldGuideLst>
    </p:ext>
  </p:extLst>
</p:sldMaster>
</file>

<file path=ppt/slides/_rels/slide1.xml.rels><?xml version="1.0" encoding="UTF-8" standalone="yes"?>
<Relationships xmlns="http://schemas.openxmlformats.org/package/2006/relationships"><Relationship Id="rId3" Type="http://schemas.microsoft.com/office/2007/relationships/hdphoto" Target="../media/hdphoto1.wdp"/><Relationship Id="rId7" Type="http://schemas.openxmlformats.org/officeDocument/2006/relationships/image" Target="../media/image34.png"/><Relationship Id="rId2" Type="http://schemas.openxmlformats.org/officeDocument/2006/relationships/image" Target="../media/image30.png"/><Relationship Id="rId1" Type="http://schemas.openxmlformats.org/officeDocument/2006/relationships/slideLayout" Target="../slideLayouts/slideLayout2.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10.xml.rels><?xml version="1.0" encoding="UTF-8" standalone="yes"?>
<Relationships xmlns="http://schemas.openxmlformats.org/package/2006/relationships"><Relationship Id="rId3" Type="http://schemas.openxmlformats.org/officeDocument/2006/relationships/image" Target="../media/image147.jpeg"/><Relationship Id="rId2" Type="http://schemas.openxmlformats.org/officeDocument/2006/relationships/notesSlide" Target="../notesSlides/notesSlide5.xml"/><Relationship Id="rId1" Type="http://schemas.openxmlformats.org/officeDocument/2006/relationships/slideLayout" Target="../slideLayouts/slideLayout55.xml"/></Relationships>
</file>

<file path=ppt/slides/_rels/slide11.xml.rels><?xml version="1.0" encoding="UTF-8" standalone="yes"?>
<Relationships xmlns="http://schemas.openxmlformats.org/package/2006/relationships"><Relationship Id="rId3" Type="http://schemas.openxmlformats.org/officeDocument/2006/relationships/image" Target="../media/image148.jpeg"/><Relationship Id="rId2" Type="http://schemas.openxmlformats.org/officeDocument/2006/relationships/notesSlide" Target="../notesSlides/notesSlide6.xml"/><Relationship Id="rId1" Type="http://schemas.openxmlformats.org/officeDocument/2006/relationships/slideLayout" Target="../slideLayouts/slideLayout55.xml"/><Relationship Id="rId4" Type="http://schemas.openxmlformats.org/officeDocument/2006/relationships/hyperlink" Target="https://www.goodfreephotos.com/other-photos/large-skyscraper-tower.jpg.php" TargetMode="External"/></Relationships>
</file>

<file path=ppt/slides/_rels/slide12.xml.rels><?xml version="1.0" encoding="UTF-8" standalone="yes"?>
<Relationships xmlns="http://schemas.openxmlformats.org/package/2006/relationships"><Relationship Id="rId2" Type="http://schemas.openxmlformats.org/officeDocument/2006/relationships/image" Target="../media/image149.png"/><Relationship Id="rId1" Type="http://schemas.openxmlformats.org/officeDocument/2006/relationships/slideLayout" Target="../slideLayouts/slideLayout5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91.xml"/></Relationships>
</file>

<file path=ppt/slides/_rels/slide2.xml.rels><?xml version="1.0" encoding="UTF-8" standalone="yes"?>
<Relationships xmlns="http://schemas.openxmlformats.org/package/2006/relationships"><Relationship Id="rId8" Type="http://schemas.openxmlformats.org/officeDocument/2006/relationships/image" Target="../media/image37.jpeg"/><Relationship Id="rId3" Type="http://schemas.openxmlformats.org/officeDocument/2006/relationships/image" Target="../media/image22.png"/><Relationship Id="rId7" Type="http://schemas.openxmlformats.org/officeDocument/2006/relationships/image" Target="../media/image36.jpeg"/><Relationship Id="rId2" Type="http://schemas.openxmlformats.org/officeDocument/2006/relationships/image" Target="../media/image35.jpeg"/><Relationship Id="rId1" Type="http://schemas.openxmlformats.org/officeDocument/2006/relationships/slideLayout" Target="../slideLayouts/slideLayout2.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Layout" Target="../slideLayouts/slideLayout32.xml"/><Relationship Id="rId1" Type="http://schemas.openxmlformats.org/officeDocument/2006/relationships/themeOverride" Target="../theme/themeOverride1.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39.png"/></Relationships>
</file>

<file path=ppt/slides/_rels/slide4.xml.rels><?xml version="1.0" encoding="UTF-8" standalone="yes"?>
<Relationships xmlns="http://schemas.openxmlformats.org/package/2006/relationships"><Relationship Id="rId8" Type="http://schemas.openxmlformats.org/officeDocument/2006/relationships/image" Target="../media/image48.png"/><Relationship Id="rId13" Type="http://schemas.openxmlformats.org/officeDocument/2006/relationships/image" Target="../media/image53.png"/><Relationship Id="rId3" Type="http://schemas.openxmlformats.org/officeDocument/2006/relationships/image" Target="../media/image43.png"/><Relationship Id="rId7" Type="http://schemas.openxmlformats.org/officeDocument/2006/relationships/image" Target="../media/image47.jpeg"/><Relationship Id="rId12" Type="http://schemas.openxmlformats.org/officeDocument/2006/relationships/image" Target="../media/image52.png"/><Relationship Id="rId2" Type="http://schemas.openxmlformats.org/officeDocument/2006/relationships/image" Target="../media/image42.png"/><Relationship Id="rId1" Type="http://schemas.openxmlformats.org/officeDocument/2006/relationships/slideLayout" Target="../slideLayouts/slideLayout15.xml"/><Relationship Id="rId6" Type="http://schemas.openxmlformats.org/officeDocument/2006/relationships/image" Target="../media/image46.emf"/><Relationship Id="rId11" Type="http://schemas.openxmlformats.org/officeDocument/2006/relationships/image" Target="../media/image51.png"/><Relationship Id="rId5" Type="http://schemas.openxmlformats.org/officeDocument/2006/relationships/image" Target="../media/image45.png"/><Relationship Id="rId10" Type="http://schemas.openxmlformats.org/officeDocument/2006/relationships/image" Target="../media/image50.jpeg"/><Relationship Id="rId4" Type="http://schemas.openxmlformats.org/officeDocument/2006/relationships/image" Target="../media/image44.png"/><Relationship Id="rId9" Type="http://schemas.openxmlformats.org/officeDocument/2006/relationships/image" Target="../media/image49.png"/></Relationships>
</file>

<file path=ppt/slides/_rels/slide5.xml.rels><?xml version="1.0" encoding="UTF-8" standalone="yes"?>
<Relationships xmlns="http://schemas.openxmlformats.org/package/2006/relationships"><Relationship Id="rId26" Type="http://schemas.openxmlformats.org/officeDocument/2006/relationships/diagramLayout" Target="../diagrams/layout3.xml"/><Relationship Id="rId21" Type="http://schemas.openxmlformats.org/officeDocument/2006/relationships/diagramLayout" Target="../diagrams/layout2.xml"/><Relationship Id="rId42" Type="http://schemas.openxmlformats.org/officeDocument/2006/relationships/image" Target="../media/image95.png"/><Relationship Id="rId47" Type="http://schemas.openxmlformats.org/officeDocument/2006/relationships/image" Target="../media/image100.png"/><Relationship Id="rId63" Type="http://schemas.openxmlformats.org/officeDocument/2006/relationships/image" Target="../media/image116.png"/><Relationship Id="rId68" Type="http://schemas.openxmlformats.org/officeDocument/2006/relationships/image" Target="../media/image121.png"/><Relationship Id="rId84" Type="http://schemas.openxmlformats.org/officeDocument/2006/relationships/image" Target="../media/image137.png"/><Relationship Id="rId16" Type="http://schemas.openxmlformats.org/officeDocument/2006/relationships/image" Target="../media/image68.png"/><Relationship Id="rId11" Type="http://schemas.openxmlformats.org/officeDocument/2006/relationships/image" Target="../media/image63.png"/><Relationship Id="rId32" Type="http://schemas.openxmlformats.org/officeDocument/2006/relationships/diagramQuickStyle" Target="../diagrams/quickStyle4.xml"/><Relationship Id="rId37" Type="http://schemas.openxmlformats.org/officeDocument/2006/relationships/image" Target="../media/image90.png"/><Relationship Id="rId53" Type="http://schemas.openxmlformats.org/officeDocument/2006/relationships/image" Target="../media/image106.jpeg"/><Relationship Id="rId58" Type="http://schemas.openxmlformats.org/officeDocument/2006/relationships/image" Target="../media/image111.jpeg"/><Relationship Id="rId74" Type="http://schemas.openxmlformats.org/officeDocument/2006/relationships/image" Target="../media/image127.png"/><Relationship Id="rId79" Type="http://schemas.openxmlformats.org/officeDocument/2006/relationships/image" Target="../media/image132.png"/><Relationship Id="rId5" Type="http://schemas.openxmlformats.org/officeDocument/2006/relationships/diagramQuickStyle" Target="../diagrams/quickStyle1.xml"/><Relationship Id="rId61" Type="http://schemas.openxmlformats.org/officeDocument/2006/relationships/image" Target="../media/image114.png"/><Relationship Id="rId82" Type="http://schemas.openxmlformats.org/officeDocument/2006/relationships/image" Target="../media/image135.png"/><Relationship Id="rId19" Type="http://schemas.openxmlformats.org/officeDocument/2006/relationships/image" Target="../media/image71.gif"/><Relationship Id="rId14" Type="http://schemas.openxmlformats.org/officeDocument/2006/relationships/image" Target="../media/image66.png"/><Relationship Id="rId22" Type="http://schemas.openxmlformats.org/officeDocument/2006/relationships/diagramQuickStyle" Target="../diagrams/quickStyle2.xml"/><Relationship Id="rId27" Type="http://schemas.openxmlformats.org/officeDocument/2006/relationships/diagramQuickStyle" Target="../diagrams/quickStyle3.xml"/><Relationship Id="rId30" Type="http://schemas.openxmlformats.org/officeDocument/2006/relationships/diagramData" Target="../diagrams/data4.xml"/><Relationship Id="rId35" Type="http://schemas.openxmlformats.org/officeDocument/2006/relationships/image" Target="../media/image88.png"/><Relationship Id="rId43" Type="http://schemas.openxmlformats.org/officeDocument/2006/relationships/image" Target="../media/image96.png"/><Relationship Id="rId48" Type="http://schemas.openxmlformats.org/officeDocument/2006/relationships/image" Target="../media/image101.png"/><Relationship Id="rId56" Type="http://schemas.openxmlformats.org/officeDocument/2006/relationships/image" Target="../media/image109.png"/><Relationship Id="rId64" Type="http://schemas.openxmlformats.org/officeDocument/2006/relationships/image" Target="../media/image117.png"/><Relationship Id="rId69" Type="http://schemas.openxmlformats.org/officeDocument/2006/relationships/image" Target="../media/image122.png"/><Relationship Id="rId77" Type="http://schemas.openxmlformats.org/officeDocument/2006/relationships/image" Target="../media/image130.png"/><Relationship Id="rId8" Type="http://schemas.openxmlformats.org/officeDocument/2006/relationships/image" Target="../media/image60.png"/><Relationship Id="rId51" Type="http://schemas.openxmlformats.org/officeDocument/2006/relationships/image" Target="../media/image104.png"/><Relationship Id="rId72" Type="http://schemas.openxmlformats.org/officeDocument/2006/relationships/image" Target="../media/image125.png"/><Relationship Id="rId80" Type="http://schemas.openxmlformats.org/officeDocument/2006/relationships/image" Target="../media/image133.png"/><Relationship Id="rId3" Type="http://schemas.openxmlformats.org/officeDocument/2006/relationships/diagramData" Target="../diagrams/data1.xml"/><Relationship Id="rId12" Type="http://schemas.openxmlformats.org/officeDocument/2006/relationships/image" Target="../media/image64.png"/><Relationship Id="rId17" Type="http://schemas.openxmlformats.org/officeDocument/2006/relationships/image" Target="../media/image69.png"/><Relationship Id="rId25" Type="http://schemas.openxmlformats.org/officeDocument/2006/relationships/diagramData" Target="../diagrams/data3.xml"/><Relationship Id="rId33" Type="http://schemas.openxmlformats.org/officeDocument/2006/relationships/diagramColors" Target="../diagrams/colors4.xml"/><Relationship Id="rId38" Type="http://schemas.openxmlformats.org/officeDocument/2006/relationships/image" Target="../media/image91.png"/><Relationship Id="rId46" Type="http://schemas.openxmlformats.org/officeDocument/2006/relationships/image" Target="../media/image99.png"/><Relationship Id="rId59" Type="http://schemas.openxmlformats.org/officeDocument/2006/relationships/image" Target="../media/image112.png"/><Relationship Id="rId67" Type="http://schemas.openxmlformats.org/officeDocument/2006/relationships/image" Target="../media/image120.jpeg"/><Relationship Id="rId20" Type="http://schemas.openxmlformats.org/officeDocument/2006/relationships/diagramData" Target="../diagrams/data2.xml"/><Relationship Id="rId41" Type="http://schemas.openxmlformats.org/officeDocument/2006/relationships/image" Target="../media/image94.png"/><Relationship Id="rId54" Type="http://schemas.openxmlformats.org/officeDocument/2006/relationships/image" Target="../media/image107.png"/><Relationship Id="rId62" Type="http://schemas.openxmlformats.org/officeDocument/2006/relationships/image" Target="../media/image115.png"/><Relationship Id="rId70" Type="http://schemas.openxmlformats.org/officeDocument/2006/relationships/image" Target="../media/image123.png"/><Relationship Id="rId75" Type="http://schemas.openxmlformats.org/officeDocument/2006/relationships/image" Target="../media/image128.png"/><Relationship Id="rId83" Type="http://schemas.openxmlformats.org/officeDocument/2006/relationships/image" Target="../media/image136.png"/><Relationship Id="rId1" Type="http://schemas.openxmlformats.org/officeDocument/2006/relationships/slideLayout" Target="../slideLayouts/slideLayout16.xml"/><Relationship Id="rId6" Type="http://schemas.openxmlformats.org/officeDocument/2006/relationships/diagramColors" Target="../diagrams/colors1.xml"/><Relationship Id="rId15" Type="http://schemas.openxmlformats.org/officeDocument/2006/relationships/image" Target="../media/image67.jpeg"/><Relationship Id="rId23" Type="http://schemas.openxmlformats.org/officeDocument/2006/relationships/diagramColors" Target="../diagrams/colors2.xml"/><Relationship Id="rId28" Type="http://schemas.openxmlformats.org/officeDocument/2006/relationships/diagramColors" Target="../diagrams/colors3.xml"/><Relationship Id="rId36" Type="http://schemas.openxmlformats.org/officeDocument/2006/relationships/image" Target="../media/image89.png"/><Relationship Id="rId49" Type="http://schemas.openxmlformats.org/officeDocument/2006/relationships/image" Target="../media/image102.png"/><Relationship Id="rId57" Type="http://schemas.openxmlformats.org/officeDocument/2006/relationships/image" Target="../media/image110.png"/><Relationship Id="rId10" Type="http://schemas.openxmlformats.org/officeDocument/2006/relationships/image" Target="../media/image62.png"/><Relationship Id="rId31" Type="http://schemas.openxmlformats.org/officeDocument/2006/relationships/diagramLayout" Target="../diagrams/layout4.xml"/><Relationship Id="rId44" Type="http://schemas.openxmlformats.org/officeDocument/2006/relationships/image" Target="../media/image97.png"/><Relationship Id="rId52" Type="http://schemas.openxmlformats.org/officeDocument/2006/relationships/image" Target="../media/image105.png"/><Relationship Id="rId60" Type="http://schemas.openxmlformats.org/officeDocument/2006/relationships/image" Target="../media/image113.png"/><Relationship Id="rId65" Type="http://schemas.openxmlformats.org/officeDocument/2006/relationships/image" Target="../media/image118.png"/><Relationship Id="rId73" Type="http://schemas.openxmlformats.org/officeDocument/2006/relationships/image" Target="../media/image126.png"/><Relationship Id="rId78" Type="http://schemas.openxmlformats.org/officeDocument/2006/relationships/image" Target="../media/image131.png"/><Relationship Id="rId81" Type="http://schemas.openxmlformats.org/officeDocument/2006/relationships/image" Target="../media/image134.png"/><Relationship Id="rId4" Type="http://schemas.openxmlformats.org/officeDocument/2006/relationships/diagramLayout" Target="../diagrams/layout1.xml"/><Relationship Id="rId9" Type="http://schemas.openxmlformats.org/officeDocument/2006/relationships/image" Target="../media/image61.png"/><Relationship Id="rId13" Type="http://schemas.openxmlformats.org/officeDocument/2006/relationships/image" Target="../media/image65.png"/><Relationship Id="rId18" Type="http://schemas.openxmlformats.org/officeDocument/2006/relationships/image" Target="../media/image70.png"/><Relationship Id="rId39" Type="http://schemas.openxmlformats.org/officeDocument/2006/relationships/image" Target="../media/image92.png"/><Relationship Id="rId34" Type="http://schemas.microsoft.com/office/2007/relationships/diagramDrawing" Target="../diagrams/drawing4.xml"/><Relationship Id="rId50" Type="http://schemas.openxmlformats.org/officeDocument/2006/relationships/image" Target="../media/image103.png"/><Relationship Id="rId55" Type="http://schemas.openxmlformats.org/officeDocument/2006/relationships/image" Target="../media/image108.png"/><Relationship Id="rId76" Type="http://schemas.openxmlformats.org/officeDocument/2006/relationships/image" Target="../media/image129.png"/><Relationship Id="rId7" Type="http://schemas.microsoft.com/office/2007/relationships/diagramDrawing" Target="../diagrams/drawing1.xml"/><Relationship Id="rId71" Type="http://schemas.openxmlformats.org/officeDocument/2006/relationships/image" Target="../media/image124.png"/><Relationship Id="rId2" Type="http://schemas.openxmlformats.org/officeDocument/2006/relationships/notesSlide" Target="../notesSlides/notesSlide1.xml"/><Relationship Id="rId29" Type="http://schemas.microsoft.com/office/2007/relationships/diagramDrawing" Target="../diagrams/drawing3.xml"/><Relationship Id="rId24" Type="http://schemas.microsoft.com/office/2007/relationships/diagramDrawing" Target="../diagrams/drawing2.xml"/><Relationship Id="rId40" Type="http://schemas.openxmlformats.org/officeDocument/2006/relationships/image" Target="../media/image93.png"/><Relationship Id="rId45" Type="http://schemas.openxmlformats.org/officeDocument/2006/relationships/image" Target="../media/image98.png"/><Relationship Id="rId66" Type="http://schemas.openxmlformats.org/officeDocument/2006/relationships/image" Target="../media/image119.png"/></Relationships>
</file>

<file path=ppt/slides/_rels/slide6.xml.rels><?xml version="1.0" encoding="UTF-8" standalone="yes"?>
<Relationships xmlns="http://schemas.openxmlformats.org/package/2006/relationships"><Relationship Id="rId3" Type="http://schemas.openxmlformats.org/officeDocument/2006/relationships/image" Target="../media/image138.jpeg"/><Relationship Id="rId2" Type="http://schemas.openxmlformats.org/officeDocument/2006/relationships/notesSlide" Target="../notesSlides/notesSlide2.xml"/><Relationship Id="rId1" Type="http://schemas.openxmlformats.org/officeDocument/2006/relationships/slideLayout" Target="../slideLayouts/slideLayout28.xml"/></Relationships>
</file>

<file path=ppt/slides/_rels/slide7.xml.rels><?xml version="1.0" encoding="UTF-8" standalone="yes"?>
<Relationships xmlns="http://schemas.openxmlformats.org/package/2006/relationships"><Relationship Id="rId3" Type="http://schemas.openxmlformats.org/officeDocument/2006/relationships/image" Target="../media/image140.svg"/><Relationship Id="rId7" Type="http://schemas.openxmlformats.org/officeDocument/2006/relationships/image" Target="../media/image144.svg"/><Relationship Id="rId2" Type="http://schemas.openxmlformats.org/officeDocument/2006/relationships/image" Target="../media/image139.png"/><Relationship Id="rId1" Type="http://schemas.openxmlformats.org/officeDocument/2006/relationships/slideLayout" Target="../slideLayouts/slideLayout14.xml"/><Relationship Id="rId6" Type="http://schemas.openxmlformats.org/officeDocument/2006/relationships/image" Target="../media/image143.png"/><Relationship Id="rId5" Type="http://schemas.openxmlformats.org/officeDocument/2006/relationships/image" Target="../media/image142.svg"/><Relationship Id="rId4" Type="http://schemas.openxmlformats.org/officeDocument/2006/relationships/image" Target="../media/image141.png"/></Relationships>
</file>

<file path=ppt/slides/_rels/slide8.xml.rels><?xml version="1.0" encoding="UTF-8" standalone="yes"?>
<Relationships xmlns="http://schemas.openxmlformats.org/package/2006/relationships"><Relationship Id="rId3" Type="http://schemas.openxmlformats.org/officeDocument/2006/relationships/image" Target="../media/image145.jpeg"/><Relationship Id="rId2" Type="http://schemas.openxmlformats.org/officeDocument/2006/relationships/notesSlide" Target="../notesSlides/notesSlide3.xml"/><Relationship Id="rId1" Type="http://schemas.openxmlformats.org/officeDocument/2006/relationships/slideLayout" Target="../slideLayouts/slideLayout48.xml"/></Relationships>
</file>

<file path=ppt/slides/_rels/slide9.xml.rels><?xml version="1.0" encoding="UTF-8" standalone="yes"?>
<Relationships xmlns="http://schemas.openxmlformats.org/package/2006/relationships"><Relationship Id="rId3" Type="http://schemas.openxmlformats.org/officeDocument/2006/relationships/image" Target="../media/image146.jpeg"/><Relationship Id="rId2" Type="http://schemas.openxmlformats.org/officeDocument/2006/relationships/notesSlide" Target="../notesSlides/notesSlide4.xml"/><Relationship Id="rId1" Type="http://schemas.openxmlformats.org/officeDocument/2006/relationships/slideLayout" Target="../slideLayouts/slideLayout5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Top trends in life insurance 2023 | Research &amp; insight | Capgemini">
            <a:extLst>
              <a:ext uri="{FF2B5EF4-FFF2-40B4-BE49-F238E27FC236}">
                <a16:creationId xmlns:a16="http://schemas.microsoft.com/office/drawing/2014/main" id="{6BD3C959-A0A6-4202-AEE1-62D01369CA64}"/>
              </a:ext>
            </a:extLst>
          </p:cNvPr>
          <p:cNvPicPr>
            <a:picLocks noChangeAspect="1" noChangeArrowheads="1"/>
          </p:cNvPicPr>
          <p:nvPr/>
        </p:nvPicPr>
        <p:blipFill rotWithShape="1">
          <a:blip r:embed="rId2" cstate="screen">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a:ext>
            </a:extLst>
          </a:blip>
          <a:srcRect/>
          <a:stretch/>
        </p:blipFill>
        <p:spPr bwMode="auto">
          <a:xfrm>
            <a:off x="0" y="0"/>
            <a:ext cx="12268111" cy="6858000"/>
          </a:xfrm>
          <a:prstGeom prst="rect">
            <a:avLst/>
          </a:prstGeom>
          <a:noFill/>
          <a:extLst>
            <a:ext uri="{909E8E84-426E-40DD-AFC4-6F175D3DCCD1}">
              <a14:hiddenFill xmlns:a14="http://schemas.microsoft.com/office/drawing/2010/main">
                <a:solidFill>
                  <a:srgbClr val="FFFFFF"/>
                </a:solidFill>
              </a14:hiddenFill>
            </a:ext>
          </a:extLst>
        </p:spPr>
      </p:pic>
      <p:sp>
        <p:nvSpPr>
          <p:cNvPr id="5" name="Graphic 6">
            <a:extLst>
              <a:ext uri="{FF2B5EF4-FFF2-40B4-BE49-F238E27FC236}">
                <a16:creationId xmlns:a16="http://schemas.microsoft.com/office/drawing/2014/main" id="{360458FB-76B6-4743-A12A-A42645182007}"/>
              </a:ext>
              <a:ext uri="{C183D7F6-B498-43B3-948B-1728B52AA6E4}">
                <adec:decorative xmlns:adec="http://schemas.microsoft.com/office/drawing/2017/decorative" val="1"/>
              </a:ext>
            </a:extLst>
          </p:cNvPr>
          <p:cNvSpPr>
            <a:spLocks/>
          </p:cNvSpPr>
          <p:nvPr/>
        </p:nvSpPr>
        <p:spPr>
          <a:xfrm rot="14203607">
            <a:off x="3766826" y="1279477"/>
            <a:ext cx="12519514" cy="6871588"/>
          </a:xfrm>
          <a:custGeom>
            <a:avLst/>
            <a:gdLst>
              <a:gd name="connsiteX0" fmla="*/ 359093 w 8112442"/>
              <a:gd name="connsiteY0" fmla="*/ 4061460 h 4061459"/>
              <a:gd name="connsiteX1" fmla="*/ 0 w 8112442"/>
              <a:gd name="connsiteY1" fmla="*/ 4050983 h 4061459"/>
              <a:gd name="connsiteX2" fmla="*/ 1905 w 8112442"/>
              <a:gd name="connsiteY2" fmla="*/ 4012883 h 4061459"/>
              <a:gd name="connsiteX3" fmla="*/ 3440430 w 8112442"/>
              <a:gd name="connsiteY3" fmla="*/ 1951673 h 4061459"/>
              <a:gd name="connsiteX4" fmla="*/ 3753803 w 8112442"/>
              <a:gd name="connsiteY4" fmla="*/ 1336358 h 4061459"/>
              <a:gd name="connsiteX5" fmla="*/ 4995863 w 8112442"/>
              <a:gd name="connsiteY5" fmla="*/ 397193 h 4061459"/>
              <a:gd name="connsiteX6" fmla="*/ 5687378 w 8112442"/>
              <a:gd name="connsiteY6" fmla="*/ 307658 h 4061459"/>
              <a:gd name="connsiteX7" fmla="*/ 5698808 w 8112442"/>
              <a:gd name="connsiteY7" fmla="*/ 308610 h 4061459"/>
              <a:gd name="connsiteX8" fmla="*/ 5703570 w 8112442"/>
              <a:gd name="connsiteY8" fmla="*/ 319088 h 4061459"/>
              <a:gd name="connsiteX9" fmla="*/ 6342698 w 8112442"/>
              <a:gd name="connsiteY9" fmla="*/ 802958 h 4061459"/>
              <a:gd name="connsiteX10" fmla="*/ 7061835 w 8112442"/>
              <a:gd name="connsiteY10" fmla="*/ 707708 h 4061459"/>
              <a:gd name="connsiteX11" fmla="*/ 8086725 w 8112442"/>
              <a:gd name="connsiteY11" fmla="*/ 0 h 4061459"/>
              <a:gd name="connsiteX12" fmla="*/ 8112443 w 8112442"/>
              <a:gd name="connsiteY12" fmla="*/ 27623 h 4061459"/>
              <a:gd name="connsiteX13" fmla="*/ 7074218 w 8112442"/>
              <a:gd name="connsiteY13" fmla="*/ 742950 h 4061459"/>
              <a:gd name="connsiteX14" fmla="*/ 6334125 w 8112442"/>
              <a:gd name="connsiteY14" fmla="*/ 840105 h 4061459"/>
              <a:gd name="connsiteX15" fmla="*/ 5673090 w 8112442"/>
              <a:gd name="connsiteY15" fmla="*/ 344805 h 4061459"/>
              <a:gd name="connsiteX16" fmla="*/ 5005388 w 8112442"/>
              <a:gd name="connsiteY16" fmla="*/ 433388 h 4061459"/>
              <a:gd name="connsiteX17" fmla="*/ 3786188 w 8112442"/>
              <a:gd name="connsiteY17" fmla="*/ 1356360 h 4061459"/>
              <a:gd name="connsiteX18" fmla="*/ 3475673 w 8112442"/>
              <a:gd name="connsiteY18" fmla="*/ 1966913 h 4061459"/>
              <a:gd name="connsiteX19" fmla="*/ 2500313 w 8112442"/>
              <a:gd name="connsiteY19" fmla="*/ 3420428 h 4061459"/>
              <a:gd name="connsiteX20" fmla="*/ 359093 w 8112442"/>
              <a:gd name="connsiteY20" fmla="*/ 4061460 h 4061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112442" h="4061459">
                <a:moveTo>
                  <a:pt x="359093" y="4061460"/>
                </a:moveTo>
                <a:cubicBezTo>
                  <a:pt x="242888" y="4061460"/>
                  <a:pt x="122873" y="4057650"/>
                  <a:pt x="0" y="4050983"/>
                </a:cubicBezTo>
                <a:lnTo>
                  <a:pt x="1905" y="4012883"/>
                </a:lnTo>
                <a:cubicBezTo>
                  <a:pt x="2445068" y="4147185"/>
                  <a:pt x="2996565" y="2929890"/>
                  <a:pt x="3440430" y="1951673"/>
                </a:cubicBezTo>
                <a:cubicBezTo>
                  <a:pt x="3543300" y="1724978"/>
                  <a:pt x="3640455" y="1510665"/>
                  <a:pt x="3753803" y="1336358"/>
                </a:cubicBezTo>
                <a:cubicBezTo>
                  <a:pt x="4133850" y="750570"/>
                  <a:pt x="4638675" y="501968"/>
                  <a:pt x="4995863" y="397193"/>
                </a:cubicBezTo>
                <a:cubicBezTo>
                  <a:pt x="5382578" y="282893"/>
                  <a:pt x="5684520" y="307658"/>
                  <a:pt x="5687378" y="307658"/>
                </a:cubicBezTo>
                <a:lnTo>
                  <a:pt x="5698808" y="308610"/>
                </a:lnTo>
                <a:lnTo>
                  <a:pt x="5703570" y="319088"/>
                </a:lnTo>
                <a:cubicBezTo>
                  <a:pt x="5771198" y="465773"/>
                  <a:pt x="5980748" y="732473"/>
                  <a:pt x="6342698" y="802958"/>
                </a:cubicBezTo>
                <a:cubicBezTo>
                  <a:pt x="6558915" y="845820"/>
                  <a:pt x="6800850" y="813435"/>
                  <a:pt x="7061835" y="707708"/>
                </a:cubicBezTo>
                <a:cubicBezTo>
                  <a:pt x="7376160" y="579120"/>
                  <a:pt x="7721918" y="340995"/>
                  <a:pt x="8086725" y="0"/>
                </a:cubicBezTo>
                <a:lnTo>
                  <a:pt x="8112443" y="27623"/>
                </a:lnTo>
                <a:cubicBezTo>
                  <a:pt x="7744778" y="372428"/>
                  <a:pt x="7395210" y="612458"/>
                  <a:pt x="7074218" y="742950"/>
                </a:cubicBezTo>
                <a:cubicBezTo>
                  <a:pt x="6806565" y="851535"/>
                  <a:pt x="6557963" y="883920"/>
                  <a:pt x="6334125" y="840105"/>
                </a:cubicBezTo>
                <a:cubicBezTo>
                  <a:pt x="5966460" y="767715"/>
                  <a:pt x="5748338" y="499110"/>
                  <a:pt x="5673090" y="344805"/>
                </a:cubicBezTo>
                <a:cubicBezTo>
                  <a:pt x="5616893" y="341948"/>
                  <a:pt x="5344478" y="333375"/>
                  <a:pt x="5005388" y="433388"/>
                </a:cubicBezTo>
                <a:cubicBezTo>
                  <a:pt x="4654868" y="537210"/>
                  <a:pt x="4159568" y="781050"/>
                  <a:pt x="3786188" y="1356360"/>
                </a:cubicBezTo>
                <a:cubicBezTo>
                  <a:pt x="3674745" y="1528763"/>
                  <a:pt x="3578543" y="1741170"/>
                  <a:pt x="3475673" y="1966913"/>
                </a:cubicBezTo>
                <a:cubicBezTo>
                  <a:pt x="3255645" y="2452688"/>
                  <a:pt x="3006090" y="3002280"/>
                  <a:pt x="2500313" y="3420428"/>
                </a:cubicBezTo>
                <a:cubicBezTo>
                  <a:pt x="1979295" y="3850958"/>
                  <a:pt x="1276350" y="4061460"/>
                  <a:pt x="359093" y="4061460"/>
                </a:cubicBezTo>
                <a:close/>
              </a:path>
            </a:pathLst>
          </a:custGeom>
          <a:gradFill>
            <a:gsLst>
              <a:gs pos="92000">
                <a:schemeClr val="accent2">
                  <a:alpha val="0"/>
                </a:schemeClr>
              </a:gs>
              <a:gs pos="32000">
                <a:srgbClr val="12ABDB">
                  <a:alpha val="17000"/>
                </a:srgbClr>
              </a:gs>
              <a:gs pos="17000">
                <a:schemeClr val="accent2">
                  <a:alpha val="0"/>
                </a:schemeClr>
              </a:gs>
              <a:gs pos="49000">
                <a:srgbClr val="12ABDB"/>
              </a:gs>
              <a:gs pos="70000">
                <a:schemeClr val="accent2"/>
              </a:gs>
            </a:gsLst>
            <a:lin ang="540000" scaled="0"/>
          </a:gra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Ubuntu"/>
              <a:ea typeface="+mn-ea"/>
              <a:cs typeface="+mn-cs"/>
            </a:endParaRPr>
          </a:p>
        </p:txBody>
      </p:sp>
      <p:sp>
        <p:nvSpPr>
          <p:cNvPr id="3" name="Title 2">
            <a:extLst>
              <a:ext uri="{FF2B5EF4-FFF2-40B4-BE49-F238E27FC236}">
                <a16:creationId xmlns:a16="http://schemas.microsoft.com/office/drawing/2014/main" id="{C848BA6D-2927-44B8-ACA6-7A2F73E5B792}"/>
              </a:ext>
            </a:extLst>
          </p:cNvPr>
          <p:cNvSpPr>
            <a:spLocks noGrp="1"/>
          </p:cNvSpPr>
          <p:nvPr>
            <p:ph type="ctrTitle"/>
          </p:nvPr>
        </p:nvSpPr>
        <p:spPr>
          <a:xfrm>
            <a:off x="404813" y="1767007"/>
            <a:ext cx="7779419" cy="2659190"/>
          </a:xfrm>
        </p:spPr>
        <p:txBody>
          <a:bodyPr/>
          <a:lstStyle/>
          <a:p>
            <a:r>
              <a:rPr lang="es-MX" sz="4800" b="0" dirty="0">
                <a:latin typeface="+mj-lt"/>
              </a:rPr>
              <a:t>THE FUTURE </a:t>
            </a:r>
            <a:br>
              <a:rPr lang="es-MX" sz="4800" b="0" dirty="0">
                <a:latin typeface="+mj-lt"/>
              </a:rPr>
            </a:br>
            <a:r>
              <a:rPr lang="es-MX" sz="4800" b="0" dirty="0">
                <a:latin typeface="+mj-lt"/>
              </a:rPr>
              <a:t>OF SMNYL </a:t>
            </a:r>
            <a:br>
              <a:rPr lang="es-MX" sz="4800" b="0" dirty="0">
                <a:latin typeface="+mj-lt"/>
              </a:rPr>
            </a:br>
            <a:r>
              <a:rPr lang="es-MX" sz="4800" b="0" dirty="0">
                <a:latin typeface="+mj-lt"/>
              </a:rPr>
              <a:t>IS TODAY</a:t>
            </a:r>
            <a:br>
              <a:rPr lang="es-MX" sz="4800" b="0" dirty="0">
                <a:latin typeface="+mj-lt"/>
              </a:rPr>
            </a:br>
            <a:endParaRPr lang="en-GB" sz="4800" b="0" dirty="0">
              <a:latin typeface="+mj-lt"/>
            </a:endParaRPr>
          </a:p>
        </p:txBody>
      </p:sp>
      <p:cxnSp>
        <p:nvCxnSpPr>
          <p:cNvPr id="29" name="Straight Connector 28">
            <a:extLst>
              <a:ext uri="{FF2B5EF4-FFF2-40B4-BE49-F238E27FC236}">
                <a16:creationId xmlns:a16="http://schemas.microsoft.com/office/drawing/2014/main" id="{AC1F4B47-7216-8CD2-BF8C-1E8A3671174B}"/>
              </a:ext>
            </a:extLst>
          </p:cNvPr>
          <p:cNvCxnSpPr>
            <a:cxnSpLocks/>
          </p:cNvCxnSpPr>
          <p:nvPr/>
        </p:nvCxnSpPr>
        <p:spPr>
          <a:xfrm>
            <a:off x="2562358" y="332656"/>
            <a:ext cx="0" cy="504056"/>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30" name="Image 5" descr="Une image contenant texte&#10;&#10;Description générée automatiquement">
            <a:extLst>
              <a:ext uri="{FF2B5EF4-FFF2-40B4-BE49-F238E27FC236}">
                <a16:creationId xmlns:a16="http://schemas.microsoft.com/office/drawing/2014/main" id="{4835C7DC-F192-5DD8-0272-2639302F876A}"/>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24719" y="116632"/>
            <a:ext cx="2282991" cy="1128780"/>
          </a:xfrm>
          <a:prstGeom prst="rect">
            <a:avLst/>
          </a:prstGeom>
        </p:spPr>
      </p:pic>
      <p:pic>
        <p:nvPicPr>
          <p:cNvPr id="32" name="Picture 12" descr="Seguros Monterrey New York Life - Logo">
            <a:extLst>
              <a:ext uri="{FF2B5EF4-FFF2-40B4-BE49-F238E27FC236}">
                <a16:creationId xmlns:a16="http://schemas.microsoft.com/office/drawing/2014/main" id="{90727C1E-0687-6D32-189E-953B420DC158}"/>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4007768" y="368846"/>
            <a:ext cx="2256387" cy="503926"/>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32">
            <a:extLst>
              <a:ext uri="{FF2B5EF4-FFF2-40B4-BE49-F238E27FC236}">
                <a16:creationId xmlns:a16="http://schemas.microsoft.com/office/drawing/2014/main" id="{A64C931E-B1FD-4373-591B-3A5FB5F21767}"/>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l="4075" b="18297"/>
          <a:stretch/>
        </p:blipFill>
        <p:spPr>
          <a:xfrm>
            <a:off x="309213" y="5157192"/>
            <a:ext cx="4058595" cy="787005"/>
          </a:xfrm>
          <a:prstGeom prst="rect">
            <a:avLst/>
          </a:prstGeom>
        </p:spPr>
      </p:pic>
      <p:pic>
        <p:nvPicPr>
          <p:cNvPr id="1028" name="Picture 4" descr="AWS and Splunk">
            <a:extLst>
              <a:ext uri="{FF2B5EF4-FFF2-40B4-BE49-F238E27FC236}">
                <a16:creationId xmlns:a16="http://schemas.microsoft.com/office/drawing/2014/main" id="{6B444E56-7467-3137-0707-25470F06E9A9}"/>
              </a:ext>
            </a:extLst>
          </p:cNvPr>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l="6295" t="23561" r="61221" b="21911"/>
          <a:stretch/>
        </p:blipFill>
        <p:spPr bwMode="auto">
          <a:xfrm>
            <a:off x="2738274" y="368846"/>
            <a:ext cx="875293" cy="587706"/>
          </a:xfrm>
          <a:prstGeom prst="rect">
            <a:avLst/>
          </a:prstGeom>
          <a:noFill/>
          <a:extLst>
            <a:ext uri="{909E8E84-426E-40DD-AFC4-6F175D3DCCD1}">
              <a14:hiddenFill xmlns:a14="http://schemas.microsoft.com/office/drawing/2010/main">
                <a:solidFill>
                  <a:srgbClr val="FFFFFF"/>
                </a:solidFill>
              </a14:hiddenFill>
            </a:ext>
          </a:extLst>
        </p:spPr>
      </p:pic>
      <p:cxnSp>
        <p:nvCxnSpPr>
          <p:cNvPr id="6" name="Straight Connector 5">
            <a:extLst>
              <a:ext uri="{FF2B5EF4-FFF2-40B4-BE49-F238E27FC236}">
                <a16:creationId xmlns:a16="http://schemas.microsoft.com/office/drawing/2014/main" id="{72D4ED99-E6FF-F6E5-BA2E-EEA65B16DA45}"/>
              </a:ext>
            </a:extLst>
          </p:cNvPr>
          <p:cNvCxnSpPr>
            <a:cxnSpLocks/>
          </p:cNvCxnSpPr>
          <p:nvPr/>
        </p:nvCxnSpPr>
        <p:spPr>
          <a:xfrm>
            <a:off x="3791744" y="332656"/>
            <a:ext cx="0" cy="504056"/>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115851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 name="Picture 2" descr="Person working late on a tablet in the office">
            <a:extLst>
              <a:ext uri="{FF2B5EF4-FFF2-40B4-BE49-F238E27FC236}">
                <a16:creationId xmlns:a16="http://schemas.microsoft.com/office/drawing/2014/main" id="{F7D0AACC-DEBD-443A-90D2-38CC71421D04}"/>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p:blipFill>
        <p:spPr bwMode="auto">
          <a:xfrm>
            <a:off x="6647720" y="1"/>
            <a:ext cx="5543866" cy="6857999"/>
          </a:xfrm>
          <a:prstGeom prst="rect">
            <a:avLst/>
          </a:prstGeom>
          <a:noFill/>
          <a:extLst>
            <a:ext uri="{909E8E84-426E-40DD-AFC4-6F175D3DCCD1}">
              <a14:hiddenFill xmlns:a14="http://schemas.microsoft.com/office/drawing/2010/main">
                <a:solidFill>
                  <a:srgbClr val="FFFFFF"/>
                </a:solidFill>
              </a14:hiddenFill>
            </a:ext>
          </a:extLst>
        </p:spPr>
      </p:pic>
      <p:sp>
        <p:nvSpPr>
          <p:cNvPr id="22" name="TextBox 21">
            <a:extLst>
              <a:ext uri="{FF2B5EF4-FFF2-40B4-BE49-F238E27FC236}">
                <a16:creationId xmlns:a16="http://schemas.microsoft.com/office/drawing/2014/main" id="{5C8C6FCE-3ACC-424B-812F-6F2C3A86A4E5}"/>
              </a:ext>
            </a:extLst>
          </p:cNvPr>
          <p:cNvSpPr txBox="1">
            <a:spLocks/>
          </p:cNvSpPr>
          <p:nvPr/>
        </p:nvSpPr>
        <p:spPr>
          <a:xfrm>
            <a:off x="677810" y="1844795"/>
            <a:ext cx="5626469" cy="647870"/>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ts val="100"/>
              </a:spcBef>
              <a:spcAft>
                <a:spcPts val="200"/>
              </a:spcAft>
              <a:buClr>
                <a:srgbClr val="0070AD"/>
              </a:buClr>
              <a:buSzTx/>
              <a:buFontTx/>
              <a:buNone/>
              <a:tabLst/>
              <a:defRPr/>
            </a:pPr>
            <a:r>
              <a:rPr kumimoji="0" lang="en-IN" sz="1100" b="0" i="0" u="none" strike="noStrike" kern="1200" cap="none" spc="0" normalizeH="0" baseline="0" noProof="0">
                <a:ln>
                  <a:noFill/>
                </a:ln>
                <a:solidFill>
                  <a:prstClr val="black"/>
                </a:solidFill>
                <a:effectLst/>
                <a:uLnTx/>
                <a:uFillTx/>
                <a:latin typeface="Ubuntu Medium"/>
                <a:ea typeface="+mn-ea"/>
                <a:cs typeface="+mn-cs"/>
              </a:rPr>
              <a:t>Client needed a one-stop solution that facilitated a. employees risk assessment, policy issuance, claim settlement and address policy servicing requests etc. </a:t>
            </a:r>
          </a:p>
          <a:p>
            <a:pPr marL="0" marR="0" lvl="0" indent="0" algn="l" defTabSz="914400" rtl="0" eaLnBrk="1" fontAlgn="auto" latinLnBrk="0" hangingPunct="1">
              <a:lnSpc>
                <a:spcPct val="90000"/>
              </a:lnSpc>
              <a:spcBef>
                <a:spcPts val="100"/>
              </a:spcBef>
              <a:spcAft>
                <a:spcPts val="200"/>
              </a:spcAft>
              <a:buClr>
                <a:srgbClr val="0070AD"/>
              </a:buClr>
              <a:buSzTx/>
              <a:buFontTx/>
              <a:buNone/>
              <a:tabLst/>
              <a:defRPr/>
            </a:pPr>
            <a:r>
              <a:rPr kumimoji="0" lang="en-IN" sz="1100" b="0" i="0" u="none" strike="noStrike" kern="1200" cap="none" spc="0" normalizeH="0" baseline="0" noProof="0">
                <a:ln>
                  <a:noFill/>
                </a:ln>
                <a:solidFill>
                  <a:prstClr val="black"/>
                </a:solidFill>
                <a:effectLst/>
                <a:uLnTx/>
                <a:uFillTx/>
                <a:latin typeface="Ubuntu Medium"/>
                <a:ea typeface="+mn-ea"/>
                <a:cs typeface="+mn-cs"/>
              </a:rPr>
              <a:t>In addition a need was felt to launch a separate initiative to strategize a Single Point of Sales (</a:t>
            </a:r>
            <a:r>
              <a:rPr kumimoji="0" lang="en-IN" sz="1100" b="0" i="0" u="none" strike="noStrike" kern="1200" cap="none" spc="0" normalizeH="0" baseline="0" noProof="0" err="1">
                <a:ln>
                  <a:noFill/>
                </a:ln>
                <a:solidFill>
                  <a:prstClr val="black"/>
                </a:solidFill>
                <a:effectLst/>
                <a:uLnTx/>
                <a:uFillTx/>
                <a:latin typeface="Ubuntu Medium"/>
                <a:ea typeface="+mn-ea"/>
                <a:cs typeface="+mn-cs"/>
              </a:rPr>
              <a:t>OnePOS</a:t>
            </a:r>
            <a:r>
              <a:rPr kumimoji="0" lang="en-IN" sz="1100" b="0" i="0" u="none" strike="noStrike" kern="1200" cap="none" spc="0" normalizeH="0" baseline="0" noProof="0">
                <a:ln>
                  <a:noFill/>
                </a:ln>
                <a:solidFill>
                  <a:prstClr val="black"/>
                </a:solidFill>
                <a:effectLst/>
                <a:uLnTx/>
                <a:uFillTx/>
                <a:latin typeface="Ubuntu Medium"/>
                <a:ea typeface="+mn-ea"/>
                <a:cs typeface="+mn-cs"/>
              </a:rPr>
              <a:t>) Platform covering Agents, Bancassurance &amp; Direct channel.</a:t>
            </a:r>
          </a:p>
        </p:txBody>
      </p:sp>
      <p:grpSp>
        <p:nvGrpSpPr>
          <p:cNvPr id="2" name="Group 1">
            <a:extLst>
              <a:ext uri="{FF2B5EF4-FFF2-40B4-BE49-F238E27FC236}">
                <a16:creationId xmlns:a16="http://schemas.microsoft.com/office/drawing/2014/main" id="{741C8A33-88B1-4015-8D5A-D59D424BBD51}"/>
              </a:ext>
            </a:extLst>
          </p:cNvPr>
          <p:cNvGrpSpPr/>
          <p:nvPr/>
        </p:nvGrpSpPr>
        <p:grpSpPr>
          <a:xfrm>
            <a:off x="277941" y="1298936"/>
            <a:ext cx="2640237" cy="520776"/>
            <a:chOff x="320133" y="1021220"/>
            <a:chExt cx="2640237" cy="520776"/>
          </a:xfrm>
        </p:grpSpPr>
        <p:grpSp>
          <p:nvGrpSpPr>
            <p:cNvPr id="3" name="Group 2">
              <a:extLst>
                <a:ext uri="{FF2B5EF4-FFF2-40B4-BE49-F238E27FC236}">
                  <a16:creationId xmlns:a16="http://schemas.microsoft.com/office/drawing/2014/main" id="{B5F96091-67C7-4DE0-80EC-28296FE9CB74}"/>
                </a:ext>
              </a:extLst>
            </p:cNvPr>
            <p:cNvGrpSpPr/>
            <p:nvPr/>
          </p:nvGrpSpPr>
          <p:grpSpPr>
            <a:xfrm>
              <a:off x="320133" y="1021220"/>
              <a:ext cx="2640237" cy="520776"/>
              <a:chOff x="135582" y="1710144"/>
              <a:chExt cx="2640237" cy="520776"/>
            </a:xfrm>
          </p:grpSpPr>
          <p:sp>
            <p:nvSpPr>
              <p:cNvPr id="27" name="Rectangle: Top Corners Snipped 46">
                <a:extLst>
                  <a:ext uri="{FF2B5EF4-FFF2-40B4-BE49-F238E27FC236}">
                    <a16:creationId xmlns:a16="http://schemas.microsoft.com/office/drawing/2014/main" id="{49FAC555-335F-4F5A-96A5-D58367437A7B}"/>
                  </a:ext>
                </a:extLst>
              </p:cNvPr>
              <p:cNvSpPr>
                <a:spLocks/>
              </p:cNvSpPr>
              <p:nvPr/>
            </p:nvSpPr>
            <p:spPr>
              <a:xfrm>
                <a:off x="501828" y="1819679"/>
                <a:ext cx="2273991" cy="322068"/>
              </a:xfrm>
              <a:prstGeom prst="rect">
                <a:avLst/>
              </a:prstGeom>
              <a:solidFill>
                <a:schemeClr val="accent2"/>
              </a:solid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prstClr val="white"/>
                    </a:solidFill>
                    <a:effectLst/>
                    <a:uLnTx/>
                    <a:uFillTx/>
                    <a:latin typeface="Ubuntu" panose="020B0504030602030204" pitchFamily="34" charset="0"/>
                    <a:ea typeface="+mn-ea"/>
                    <a:cs typeface="+mn-cs"/>
                  </a:rPr>
                  <a:t>       Business challenge</a:t>
                </a:r>
              </a:p>
            </p:txBody>
          </p:sp>
          <p:sp>
            <p:nvSpPr>
              <p:cNvPr id="28" name="Oval 27">
                <a:extLst>
                  <a:ext uri="{FF2B5EF4-FFF2-40B4-BE49-F238E27FC236}">
                    <a16:creationId xmlns:a16="http://schemas.microsoft.com/office/drawing/2014/main" id="{85CD967C-8C2D-467A-9B56-5AEE034D2857}"/>
                  </a:ext>
                </a:extLst>
              </p:cNvPr>
              <p:cNvSpPr/>
              <p:nvPr/>
            </p:nvSpPr>
            <p:spPr>
              <a:xfrm>
                <a:off x="135582" y="1710144"/>
                <a:ext cx="520776" cy="520776"/>
              </a:xfrm>
              <a:prstGeom prst="ellipse">
                <a:avLst/>
              </a:prstGeom>
              <a:solidFill>
                <a:schemeClr val="accent1">
                  <a:lumMod val="50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Ubuntu" panose="020B0504030602030204" pitchFamily="34" charset="0"/>
                  <a:ea typeface="+mn-ea"/>
                  <a:cs typeface="+mn-cs"/>
                </a:endParaRPr>
              </a:p>
            </p:txBody>
          </p:sp>
        </p:grpSp>
        <p:grpSp>
          <p:nvGrpSpPr>
            <p:cNvPr id="29" name="Group 28">
              <a:extLst>
                <a:ext uri="{FF2B5EF4-FFF2-40B4-BE49-F238E27FC236}">
                  <a16:creationId xmlns:a16="http://schemas.microsoft.com/office/drawing/2014/main" id="{0420E46A-42E1-4F5A-88A9-64830B0078BA}"/>
                </a:ext>
              </a:extLst>
            </p:cNvPr>
            <p:cNvGrpSpPr/>
            <p:nvPr/>
          </p:nvGrpSpPr>
          <p:grpSpPr>
            <a:xfrm>
              <a:off x="418138" y="1127168"/>
              <a:ext cx="301865" cy="251137"/>
              <a:chOff x="646307" y="1893616"/>
              <a:chExt cx="371840" cy="309353"/>
            </a:xfrm>
            <a:solidFill>
              <a:schemeClr val="bg1"/>
            </a:solidFill>
          </p:grpSpPr>
          <p:sp>
            <p:nvSpPr>
              <p:cNvPr id="30" name="Freeform 26">
                <a:extLst>
                  <a:ext uri="{FF2B5EF4-FFF2-40B4-BE49-F238E27FC236}">
                    <a16:creationId xmlns:a16="http://schemas.microsoft.com/office/drawing/2014/main" id="{316DF9AE-D55D-4134-8F0B-532483698DBF}"/>
                  </a:ext>
                </a:extLst>
              </p:cNvPr>
              <p:cNvSpPr>
                <a:spLocks noEditPoints="1"/>
              </p:cNvSpPr>
              <p:nvPr/>
            </p:nvSpPr>
            <p:spPr bwMode="auto">
              <a:xfrm>
                <a:off x="666194" y="1893616"/>
                <a:ext cx="351953" cy="309353"/>
              </a:xfrm>
              <a:custGeom>
                <a:avLst/>
                <a:gdLst>
                  <a:gd name="T0" fmla="*/ 1734 w 1747"/>
                  <a:gd name="T1" fmla="*/ 1404 h 1531"/>
                  <a:gd name="T2" fmla="*/ 948 w 1747"/>
                  <a:gd name="T3" fmla="*/ 42 h 1531"/>
                  <a:gd name="T4" fmla="*/ 876 w 1747"/>
                  <a:gd name="T5" fmla="*/ 0 h 1531"/>
                  <a:gd name="T6" fmla="*/ 804 w 1747"/>
                  <a:gd name="T7" fmla="*/ 42 h 1531"/>
                  <a:gd name="T8" fmla="*/ 15 w 1747"/>
                  <a:gd name="T9" fmla="*/ 1407 h 1531"/>
                  <a:gd name="T10" fmla="*/ 15 w 1747"/>
                  <a:gd name="T11" fmla="*/ 1490 h 1531"/>
                  <a:gd name="T12" fmla="*/ 87 w 1747"/>
                  <a:gd name="T13" fmla="*/ 1531 h 1531"/>
                  <a:gd name="T14" fmla="*/ 1664 w 1747"/>
                  <a:gd name="T15" fmla="*/ 1531 h 1531"/>
                  <a:gd name="T16" fmla="*/ 1664 w 1747"/>
                  <a:gd name="T17" fmla="*/ 1531 h 1531"/>
                  <a:gd name="T18" fmla="*/ 1747 w 1747"/>
                  <a:gd name="T19" fmla="*/ 1448 h 1531"/>
                  <a:gd name="T20" fmla="*/ 1734 w 1747"/>
                  <a:gd name="T21" fmla="*/ 1404 h 1531"/>
                  <a:gd name="T22" fmla="*/ 231 w 1747"/>
                  <a:gd name="T23" fmla="*/ 1366 h 1531"/>
                  <a:gd name="T24" fmla="*/ 876 w 1747"/>
                  <a:gd name="T25" fmla="*/ 250 h 1531"/>
                  <a:gd name="T26" fmla="*/ 1520 w 1747"/>
                  <a:gd name="T27" fmla="*/ 1366 h 1531"/>
                  <a:gd name="T28" fmla="*/ 231 w 1747"/>
                  <a:gd name="T29" fmla="*/ 1366 h 1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47" h="1531">
                    <a:moveTo>
                      <a:pt x="1734" y="1404"/>
                    </a:moveTo>
                    <a:cubicBezTo>
                      <a:pt x="948" y="42"/>
                      <a:pt x="948" y="42"/>
                      <a:pt x="948" y="42"/>
                    </a:cubicBezTo>
                    <a:cubicBezTo>
                      <a:pt x="933" y="16"/>
                      <a:pt x="905" y="0"/>
                      <a:pt x="876" y="0"/>
                    </a:cubicBezTo>
                    <a:cubicBezTo>
                      <a:pt x="846" y="0"/>
                      <a:pt x="818" y="16"/>
                      <a:pt x="804" y="42"/>
                    </a:cubicBezTo>
                    <a:cubicBezTo>
                      <a:pt x="15" y="1407"/>
                      <a:pt x="15" y="1407"/>
                      <a:pt x="15" y="1407"/>
                    </a:cubicBezTo>
                    <a:cubicBezTo>
                      <a:pt x="0" y="1433"/>
                      <a:pt x="0" y="1464"/>
                      <a:pt x="15" y="1490"/>
                    </a:cubicBezTo>
                    <a:cubicBezTo>
                      <a:pt x="30" y="1516"/>
                      <a:pt x="58" y="1531"/>
                      <a:pt x="87" y="1531"/>
                    </a:cubicBezTo>
                    <a:cubicBezTo>
                      <a:pt x="1664" y="1531"/>
                      <a:pt x="1664" y="1531"/>
                      <a:pt x="1664" y="1531"/>
                    </a:cubicBezTo>
                    <a:cubicBezTo>
                      <a:pt x="1664" y="1531"/>
                      <a:pt x="1664" y="1531"/>
                      <a:pt x="1664" y="1531"/>
                    </a:cubicBezTo>
                    <a:cubicBezTo>
                      <a:pt x="1710" y="1531"/>
                      <a:pt x="1747" y="1494"/>
                      <a:pt x="1747" y="1448"/>
                    </a:cubicBezTo>
                    <a:cubicBezTo>
                      <a:pt x="1747" y="1432"/>
                      <a:pt x="1743" y="1417"/>
                      <a:pt x="1734" y="1404"/>
                    </a:cubicBezTo>
                    <a:close/>
                    <a:moveTo>
                      <a:pt x="231" y="1366"/>
                    </a:moveTo>
                    <a:cubicBezTo>
                      <a:pt x="876" y="250"/>
                      <a:pt x="876" y="250"/>
                      <a:pt x="876" y="250"/>
                    </a:cubicBezTo>
                    <a:cubicBezTo>
                      <a:pt x="1520" y="1366"/>
                      <a:pt x="1520" y="1366"/>
                      <a:pt x="1520" y="1366"/>
                    </a:cubicBezTo>
                    <a:lnTo>
                      <a:pt x="231" y="1366"/>
                    </a:lnTo>
                    <a:close/>
                  </a:path>
                </a:pathLst>
              </a:custGeom>
              <a:grpFill/>
              <a:ln w="9525">
                <a:noFill/>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1000"/>
                  </a:spcBef>
                  <a:spcAft>
                    <a:spcPts val="0"/>
                  </a:spcAft>
                  <a:buClrTx/>
                  <a:buSzTx/>
                  <a:buFontTx/>
                  <a:buNone/>
                  <a:tabLst/>
                  <a:defRPr/>
                </a:pPr>
                <a:endParaRPr kumimoji="0" lang="en-IE" sz="3200" b="1" i="0" u="none" strike="noStrike" kern="0" cap="none" spc="0" normalizeH="0" baseline="0" noProof="0">
                  <a:ln>
                    <a:noFill/>
                  </a:ln>
                  <a:solidFill>
                    <a:prstClr val="white"/>
                  </a:solidFill>
                  <a:effectLst/>
                  <a:uLnTx/>
                  <a:uFillTx/>
                  <a:latin typeface="Ubuntu" panose="020B0504030602030204" pitchFamily="34" charset="0"/>
                  <a:ea typeface="+mn-ea"/>
                  <a:cs typeface="+mn-cs"/>
                </a:endParaRPr>
              </a:p>
            </p:txBody>
          </p:sp>
          <p:sp>
            <p:nvSpPr>
              <p:cNvPr id="31" name="Freeform 42">
                <a:extLst>
                  <a:ext uri="{FF2B5EF4-FFF2-40B4-BE49-F238E27FC236}">
                    <a16:creationId xmlns:a16="http://schemas.microsoft.com/office/drawing/2014/main" id="{68AC1A1D-3F47-428A-A99F-0409FFF0463B}"/>
                  </a:ext>
                </a:extLst>
              </p:cNvPr>
              <p:cNvSpPr>
                <a:spLocks/>
              </p:cNvSpPr>
              <p:nvPr/>
            </p:nvSpPr>
            <p:spPr bwMode="auto">
              <a:xfrm>
                <a:off x="646307" y="1984458"/>
                <a:ext cx="154640" cy="185768"/>
              </a:xfrm>
              <a:custGeom>
                <a:avLst/>
                <a:gdLst>
                  <a:gd name="T0" fmla="*/ 1376 w 1540"/>
                  <a:gd name="T1" fmla="*/ 1682 h 1850"/>
                  <a:gd name="T2" fmla="*/ 1376 w 1540"/>
                  <a:gd name="T3" fmla="*/ 1690 h 1850"/>
                  <a:gd name="T4" fmla="*/ 1366 w 1540"/>
                  <a:gd name="T5" fmla="*/ 1720 h 1850"/>
                  <a:gd name="T6" fmla="*/ 1352 w 1540"/>
                  <a:gd name="T7" fmla="*/ 1750 h 1850"/>
                  <a:gd name="T8" fmla="*/ 1328 w 1540"/>
                  <a:gd name="T9" fmla="*/ 1782 h 1850"/>
                  <a:gd name="T10" fmla="*/ 1290 w 1540"/>
                  <a:gd name="T11" fmla="*/ 1812 h 1850"/>
                  <a:gd name="T12" fmla="*/ 1236 w 1540"/>
                  <a:gd name="T13" fmla="*/ 1834 h 1850"/>
                  <a:gd name="T14" fmla="*/ 1164 w 1540"/>
                  <a:gd name="T15" fmla="*/ 1848 h 1850"/>
                  <a:gd name="T16" fmla="*/ 272 w 1540"/>
                  <a:gd name="T17" fmla="*/ 1850 h 1850"/>
                  <a:gd name="T18" fmla="*/ 260 w 1540"/>
                  <a:gd name="T19" fmla="*/ 1846 h 1850"/>
                  <a:gd name="T20" fmla="*/ 186 w 1540"/>
                  <a:gd name="T21" fmla="*/ 1822 h 1850"/>
                  <a:gd name="T22" fmla="*/ 136 w 1540"/>
                  <a:gd name="T23" fmla="*/ 1800 h 1850"/>
                  <a:gd name="T24" fmla="*/ 86 w 1540"/>
                  <a:gd name="T25" fmla="*/ 1772 h 1850"/>
                  <a:gd name="T26" fmla="*/ 42 w 1540"/>
                  <a:gd name="T27" fmla="*/ 1736 h 1850"/>
                  <a:gd name="T28" fmla="*/ 18 w 1540"/>
                  <a:gd name="T29" fmla="*/ 1704 h 1850"/>
                  <a:gd name="T30" fmla="*/ 6 w 1540"/>
                  <a:gd name="T31" fmla="*/ 1680 h 1850"/>
                  <a:gd name="T32" fmla="*/ 0 w 1540"/>
                  <a:gd name="T33" fmla="*/ 1656 h 1850"/>
                  <a:gd name="T34" fmla="*/ 0 w 1540"/>
                  <a:gd name="T35" fmla="*/ 826 h 1850"/>
                  <a:gd name="T36" fmla="*/ 20 w 1540"/>
                  <a:gd name="T37" fmla="*/ 816 h 1850"/>
                  <a:gd name="T38" fmla="*/ 150 w 1540"/>
                  <a:gd name="T39" fmla="*/ 750 h 1850"/>
                  <a:gd name="T40" fmla="*/ 236 w 1540"/>
                  <a:gd name="T41" fmla="*/ 698 h 1850"/>
                  <a:gd name="T42" fmla="*/ 322 w 1540"/>
                  <a:gd name="T43" fmla="*/ 634 h 1850"/>
                  <a:gd name="T44" fmla="*/ 380 w 1540"/>
                  <a:gd name="T45" fmla="*/ 582 h 1850"/>
                  <a:gd name="T46" fmla="*/ 414 w 1540"/>
                  <a:gd name="T47" fmla="*/ 544 h 1850"/>
                  <a:gd name="T48" fmla="*/ 442 w 1540"/>
                  <a:gd name="T49" fmla="*/ 504 h 1850"/>
                  <a:gd name="T50" fmla="*/ 460 w 1540"/>
                  <a:gd name="T51" fmla="*/ 464 h 1850"/>
                  <a:gd name="T52" fmla="*/ 470 w 1540"/>
                  <a:gd name="T53" fmla="*/ 422 h 1850"/>
                  <a:gd name="T54" fmla="*/ 472 w 1540"/>
                  <a:gd name="T55" fmla="*/ 2 h 1850"/>
                  <a:gd name="T56" fmla="*/ 488 w 1540"/>
                  <a:gd name="T57" fmla="*/ 0 h 1850"/>
                  <a:gd name="T58" fmla="*/ 554 w 1540"/>
                  <a:gd name="T59" fmla="*/ 2 h 1850"/>
                  <a:gd name="T60" fmla="*/ 616 w 1540"/>
                  <a:gd name="T61" fmla="*/ 14 h 1850"/>
                  <a:gd name="T62" fmla="*/ 680 w 1540"/>
                  <a:gd name="T63" fmla="*/ 36 h 1850"/>
                  <a:gd name="T64" fmla="*/ 712 w 1540"/>
                  <a:gd name="T65" fmla="*/ 54 h 1850"/>
                  <a:gd name="T66" fmla="*/ 742 w 1540"/>
                  <a:gd name="T67" fmla="*/ 78 h 1850"/>
                  <a:gd name="T68" fmla="*/ 770 w 1540"/>
                  <a:gd name="T69" fmla="*/ 106 h 1850"/>
                  <a:gd name="T70" fmla="*/ 792 w 1540"/>
                  <a:gd name="T71" fmla="*/ 142 h 1850"/>
                  <a:gd name="T72" fmla="*/ 808 w 1540"/>
                  <a:gd name="T73" fmla="*/ 184 h 1850"/>
                  <a:gd name="T74" fmla="*/ 820 w 1540"/>
                  <a:gd name="T75" fmla="*/ 232 h 1850"/>
                  <a:gd name="T76" fmla="*/ 824 w 1540"/>
                  <a:gd name="T77" fmla="*/ 290 h 1850"/>
                  <a:gd name="T78" fmla="*/ 1328 w 1540"/>
                  <a:gd name="T79" fmla="*/ 658 h 1850"/>
                  <a:gd name="T80" fmla="*/ 1338 w 1540"/>
                  <a:gd name="T81" fmla="*/ 660 h 1850"/>
                  <a:gd name="T82" fmla="*/ 1404 w 1540"/>
                  <a:gd name="T83" fmla="*/ 684 h 1850"/>
                  <a:gd name="T84" fmla="*/ 1448 w 1540"/>
                  <a:gd name="T85" fmla="*/ 706 h 1850"/>
                  <a:gd name="T86" fmla="*/ 1488 w 1540"/>
                  <a:gd name="T87" fmla="*/ 738 h 1850"/>
                  <a:gd name="T88" fmla="*/ 1520 w 1540"/>
                  <a:gd name="T89" fmla="*/ 776 h 1850"/>
                  <a:gd name="T90" fmla="*/ 1536 w 1540"/>
                  <a:gd name="T91" fmla="*/ 812 h 1850"/>
                  <a:gd name="T92" fmla="*/ 1540 w 1540"/>
                  <a:gd name="T93" fmla="*/ 838 h 1850"/>
                  <a:gd name="T94" fmla="*/ 1538 w 1540"/>
                  <a:gd name="T95" fmla="*/ 866 h 1850"/>
                  <a:gd name="T96" fmla="*/ 1536 w 1540"/>
                  <a:gd name="T97" fmla="*/ 882 h 18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40" h="1850">
                    <a:moveTo>
                      <a:pt x="1536" y="882"/>
                    </a:moveTo>
                    <a:lnTo>
                      <a:pt x="1376" y="1682"/>
                    </a:lnTo>
                    <a:lnTo>
                      <a:pt x="1376" y="1682"/>
                    </a:lnTo>
                    <a:lnTo>
                      <a:pt x="1376" y="1690"/>
                    </a:lnTo>
                    <a:lnTo>
                      <a:pt x="1370" y="1708"/>
                    </a:lnTo>
                    <a:lnTo>
                      <a:pt x="1366" y="1720"/>
                    </a:lnTo>
                    <a:lnTo>
                      <a:pt x="1360" y="1736"/>
                    </a:lnTo>
                    <a:lnTo>
                      <a:pt x="1352" y="1750"/>
                    </a:lnTo>
                    <a:lnTo>
                      <a:pt x="1342" y="1766"/>
                    </a:lnTo>
                    <a:lnTo>
                      <a:pt x="1328" y="1782"/>
                    </a:lnTo>
                    <a:lnTo>
                      <a:pt x="1310" y="1796"/>
                    </a:lnTo>
                    <a:lnTo>
                      <a:pt x="1290" y="1812"/>
                    </a:lnTo>
                    <a:lnTo>
                      <a:pt x="1264" y="1824"/>
                    </a:lnTo>
                    <a:lnTo>
                      <a:pt x="1236" y="1834"/>
                    </a:lnTo>
                    <a:lnTo>
                      <a:pt x="1202" y="1842"/>
                    </a:lnTo>
                    <a:lnTo>
                      <a:pt x="1164" y="1848"/>
                    </a:lnTo>
                    <a:lnTo>
                      <a:pt x="1120" y="1850"/>
                    </a:lnTo>
                    <a:lnTo>
                      <a:pt x="272" y="1850"/>
                    </a:lnTo>
                    <a:lnTo>
                      <a:pt x="272" y="1850"/>
                    </a:lnTo>
                    <a:lnTo>
                      <a:pt x="260" y="1846"/>
                    </a:lnTo>
                    <a:lnTo>
                      <a:pt x="230" y="1838"/>
                    </a:lnTo>
                    <a:lnTo>
                      <a:pt x="186" y="1822"/>
                    </a:lnTo>
                    <a:lnTo>
                      <a:pt x="162" y="1812"/>
                    </a:lnTo>
                    <a:lnTo>
                      <a:pt x="136" y="1800"/>
                    </a:lnTo>
                    <a:lnTo>
                      <a:pt x="110" y="1786"/>
                    </a:lnTo>
                    <a:lnTo>
                      <a:pt x="86" y="1772"/>
                    </a:lnTo>
                    <a:lnTo>
                      <a:pt x="64" y="1754"/>
                    </a:lnTo>
                    <a:lnTo>
                      <a:pt x="42" y="1736"/>
                    </a:lnTo>
                    <a:lnTo>
                      <a:pt x="26" y="1714"/>
                    </a:lnTo>
                    <a:lnTo>
                      <a:pt x="18" y="1704"/>
                    </a:lnTo>
                    <a:lnTo>
                      <a:pt x="12" y="1692"/>
                    </a:lnTo>
                    <a:lnTo>
                      <a:pt x="6" y="1680"/>
                    </a:lnTo>
                    <a:lnTo>
                      <a:pt x="4" y="1668"/>
                    </a:lnTo>
                    <a:lnTo>
                      <a:pt x="0" y="1656"/>
                    </a:lnTo>
                    <a:lnTo>
                      <a:pt x="0" y="1642"/>
                    </a:lnTo>
                    <a:lnTo>
                      <a:pt x="0" y="826"/>
                    </a:lnTo>
                    <a:lnTo>
                      <a:pt x="0" y="826"/>
                    </a:lnTo>
                    <a:lnTo>
                      <a:pt x="20" y="816"/>
                    </a:lnTo>
                    <a:lnTo>
                      <a:pt x="74" y="792"/>
                    </a:lnTo>
                    <a:lnTo>
                      <a:pt x="150" y="750"/>
                    </a:lnTo>
                    <a:lnTo>
                      <a:pt x="192" y="726"/>
                    </a:lnTo>
                    <a:lnTo>
                      <a:pt x="236" y="698"/>
                    </a:lnTo>
                    <a:lnTo>
                      <a:pt x="280" y="668"/>
                    </a:lnTo>
                    <a:lnTo>
                      <a:pt x="322" y="634"/>
                    </a:lnTo>
                    <a:lnTo>
                      <a:pt x="362" y="600"/>
                    </a:lnTo>
                    <a:lnTo>
                      <a:pt x="380" y="582"/>
                    </a:lnTo>
                    <a:lnTo>
                      <a:pt x="398" y="562"/>
                    </a:lnTo>
                    <a:lnTo>
                      <a:pt x="414" y="544"/>
                    </a:lnTo>
                    <a:lnTo>
                      <a:pt x="428" y="524"/>
                    </a:lnTo>
                    <a:lnTo>
                      <a:pt x="442" y="504"/>
                    </a:lnTo>
                    <a:lnTo>
                      <a:pt x="452" y="484"/>
                    </a:lnTo>
                    <a:lnTo>
                      <a:pt x="460" y="464"/>
                    </a:lnTo>
                    <a:lnTo>
                      <a:pt x="466" y="444"/>
                    </a:lnTo>
                    <a:lnTo>
                      <a:pt x="470" y="422"/>
                    </a:lnTo>
                    <a:lnTo>
                      <a:pt x="472" y="402"/>
                    </a:lnTo>
                    <a:lnTo>
                      <a:pt x="472" y="2"/>
                    </a:lnTo>
                    <a:lnTo>
                      <a:pt x="472" y="2"/>
                    </a:lnTo>
                    <a:lnTo>
                      <a:pt x="488" y="0"/>
                    </a:lnTo>
                    <a:lnTo>
                      <a:pt x="528" y="0"/>
                    </a:lnTo>
                    <a:lnTo>
                      <a:pt x="554" y="2"/>
                    </a:lnTo>
                    <a:lnTo>
                      <a:pt x="584" y="6"/>
                    </a:lnTo>
                    <a:lnTo>
                      <a:pt x="616" y="14"/>
                    </a:lnTo>
                    <a:lnTo>
                      <a:pt x="648" y="22"/>
                    </a:lnTo>
                    <a:lnTo>
                      <a:pt x="680" y="36"/>
                    </a:lnTo>
                    <a:lnTo>
                      <a:pt x="696" y="46"/>
                    </a:lnTo>
                    <a:lnTo>
                      <a:pt x="712" y="54"/>
                    </a:lnTo>
                    <a:lnTo>
                      <a:pt x="728" y="66"/>
                    </a:lnTo>
                    <a:lnTo>
                      <a:pt x="742" y="78"/>
                    </a:lnTo>
                    <a:lnTo>
                      <a:pt x="756" y="92"/>
                    </a:lnTo>
                    <a:lnTo>
                      <a:pt x="770" y="106"/>
                    </a:lnTo>
                    <a:lnTo>
                      <a:pt x="780" y="124"/>
                    </a:lnTo>
                    <a:lnTo>
                      <a:pt x="792" y="142"/>
                    </a:lnTo>
                    <a:lnTo>
                      <a:pt x="800" y="162"/>
                    </a:lnTo>
                    <a:lnTo>
                      <a:pt x="808" y="184"/>
                    </a:lnTo>
                    <a:lnTo>
                      <a:pt x="816" y="208"/>
                    </a:lnTo>
                    <a:lnTo>
                      <a:pt x="820" y="232"/>
                    </a:lnTo>
                    <a:lnTo>
                      <a:pt x="822" y="260"/>
                    </a:lnTo>
                    <a:lnTo>
                      <a:pt x="824" y="290"/>
                    </a:lnTo>
                    <a:lnTo>
                      <a:pt x="824" y="658"/>
                    </a:lnTo>
                    <a:lnTo>
                      <a:pt x="1328" y="658"/>
                    </a:lnTo>
                    <a:lnTo>
                      <a:pt x="1328" y="658"/>
                    </a:lnTo>
                    <a:lnTo>
                      <a:pt x="1338" y="660"/>
                    </a:lnTo>
                    <a:lnTo>
                      <a:pt x="1366" y="670"/>
                    </a:lnTo>
                    <a:lnTo>
                      <a:pt x="1404" y="684"/>
                    </a:lnTo>
                    <a:lnTo>
                      <a:pt x="1426" y="694"/>
                    </a:lnTo>
                    <a:lnTo>
                      <a:pt x="1448" y="706"/>
                    </a:lnTo>
                    <a:lnTo>
                      <a:pt x="1468" y="722"/>
                    </a:lnTo>
                    <a:lnTo>
                      <a:pt x="1488" y="738"/>
                    </a:lnTo>
                    <a:lnTo>
                      <a:pt x="1506" y="756"/>
                    </a:lnTo>
                    <a:lnTo>
                      <a:pt x="1520" y="776"/>
                    </a:lnTo>
                    <a:lnTo>
                      <a:pt x="1532" y="798"/>
                    </a:lnTo>
                    <a:lnTo>
                      <a:pt x="1536" y="812"/>
                    </a:lnTo>
                    <a:lnTo>
                      <a:pt x="1538" y="824"/>
                    </a:lnTo>
                    <a:lnTo>
                      <a:pt x="1540" y="838"/>
                    </a:lnTo>
                    <a:lnTo>
                      <a:pt x="1540" y="852"/>
                    </a:lnTo>
                    <a:lnTo>
                      <a:pt x="1538" y="866"/>
                    </a:lnTo>
                    <a:lnTo>
                      <a:pt x="1536" y="882"/>
                    </a:lnTo>
                    <a:lnTo>
                      <a:pt x="1536" y="882"/>
                    </a:lnTo>
                    <a:close/>
                  </a:path>
                </a:pathLst>
              </a:custGeom>
              <a:grpFill/>
              <a:ln w="28575">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Ubuntu" panose="020B0504030602030204" pitchFamily="34" charset="0"/>
                  <a:ea typeface="+mn-ea"/>
                  <a:cs typeface="+mn-cs"/>
                </a:endParaRPr>
              </a:p>
            </p:txBody>
          </p:sp>
          <p:grpSp>
            <p:nvGrpSpPr>
              <p:cNvPr id="32" name="Groupe 13">
                <a:extLst>
                  <a:ext uri="{FF2B5EF4-FFF2-40B4-BE49-F238E27FC236}">
                    <a16:creationId xmlns:a16="http://schemas.microsoft.com/office/drawing/2014/main" id="{0716F664-E16B-43B6-BF23-19037C14F716}"/>
                  </a:ext>
                </a:extLst>
              </p:cNvPr>
              <p:cNvGrpSpPr>
                <a:grpSpLocks noChangeAspect="1"/>
              </p:cNvGrpSpPr>
              <p:nvPr/>
            </p:nvGrpSpPr>
            <p:grpSpPr>
              <a:xfrm>
                <a:off x="814408" y="1977820"/>
                <a:ext cx="52018" cy="177225"/>
                <a:chOff x="-687930" y="3942515"/>
                <a:chExt cx="120467" cy="410428"/>
              </a:xfrm>
              <a:grpFill/>
            </p:grpSpPr>
            <p:sp>
              <p:nvSpPr>
                <p:cNvPr id="33" name="Freeform 115">
                  <a:extLst>
                    <a:ext uri="{FF2B5EF4-FFF2-40B4-BE49-F238E27FC236}">
                      <a16:creationId xmlns:a16="http://schemas.microsoft.com/office/drawing/2014/main" id="{0578DB0F-B455-4BA1-B7DB-8B28A0759033}"/>
                    </a:ext>
                  </a:extLst>
                </p:cNvPr>
                <p:cNvSpPr>
                  <a:spLocks/>
                </p:cNvSpPr>
                <p:nvPr/>
              </p:nvSpPr>
              <p:spPr bwMode="auto">
                <a:xfrm>
                  <a:off x="-671121" y="3942515"/>
                  <a:ext cx="86848" cy="284359"/>
                </a:xfrm>
                <a:custGeom>
                  <a:avLst/>
                  <a:gdLst>
                    <a:gd name="T0" fmla="*/ 0 w 26"/>
                    <a:gd name="T1" fmla="*/ 12 h 86"/>
                    <a:gd name="T2" fmla="*/ 26 w 26"/>
                    <a:gd name="T3" fmla="*/ 9 h 86"/>
                    <a:gd name="T4" fmla="*/ 26 w 26"/>
                    <a:gd name="T5" fmla="*/ 38 h 86"/>
                    <a:gd name="T6" fmla="*/ 25 w 26"/>
                    <a:gd name="T7" fmla="*/ 63 h 86"/>
                    <a:gd name="T8" fmla="*/ 22 w 26"/>
                    <a:gd name="T9" fmla="*/ 86 h 86"/>
                    <a:gd name="T10" fmla="*/ 4 w 26"/>
                    <a:gd name="T11" fmla="*/ 86 h 86"/>
                    <a:gd name="T12" fmla="*/ 1 w 26"/>
                    <a:gd name="T13" fmla="*/ 63 h 86"/>
                    <a:gd name="T14" fmla="*/ 0 w 26"/>
                    <a:gd name="T15" fmla="*/ 38 h 86"/>
                    <a:gd name="T16" fmla="*/ 0 w 26"/>
                    <a:gd name="T17" fmla="*/ 16 h 86"/>
                    <a:gd name="T18" fmla="*/ 0 w 26"/>
                    <a:gd name="T19" fmla="*/ 1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86">
                      <a:moveTo>
                        <a:pt x="0" y="12"/>
                      </a:moveTo>
                      <a:cubicBezTo>
                        <a:pt x="0" y="0"/>
                        <a:pt x="25" y="9"/>
                        <a:pt x="26" y="9"/>
                      </a:cubicBezTo>
                      <a:cubicBezTo>
                        <a:pt x="26" y="11"/>
                        <a:pt x="26" y="38"/>
                        <a:pt x="26" y="38"/>
                      </a:cubicBezTo>
                      <a:cubicBezTo>
                        <a:pt x="26" y="47"/>
                        <a:pt x="26" y="55"/>
                        <a:pt x="25" y="63"/>
                      </a:cubicBezTo>
                      <a:cubicBezTo>
                        <a:pt x="24" y="70"/>
                        <a:pt x="23" y="78"/>
                        <a:pt x="22" y="86"/>
                      </a:cubicBezTo>
                      <a:cubicBezTo>
                        <a:pt x="4" y="86"/>
                        <a:pt x="4" y="86"/>
                        <a:pt x="4" y="86"/>
                      </a:cubicBezTo>
                      <a:cubicBezTo>
                        <a:pt x="2" y="78"/>
                        <a:pt x="2" y="70"/>
                        <a:pt x="1" y="63"/>
                      </a:cubicBezTo>
                      <a:cubicBezTo>
                        <a:pt x="0" y="55"/>
                        <a:pt x="0" y="47"/>
                        <a:pt x="0" y="38"/>
                      </a:cubicBezTo>
                      <a:cubicBezTo>
                        <a:pt x="0" y="16"/>
                        <a:pt x="0" y="16"/>
                        <a:pt x="0" y="16"/>
                      </a:cubicBezTo>
                      <a:cubicBezTo>
                        <a:pt x="0" y="16"/>
                        <a:pt x="0" y="19"/>
                        <a:pt x="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Ubuntu" panose="020B0504030602030204" pitchFamily="34" charset="0"/>
                    <a:ea typeface="+mn-ea"/>
                    <a:cs typeface="+mn-cs"/>
                  </a:endParaRPr>
                </a:p>
              </p:txBody>
            </p:sp>
            <p:sp>
              <p:nvSpPr>
                <p:cNvPr id="34" name="Freeform 116">
                  <a:extLst>
                    <a:ext uri="{FF2B5EF4-FFF2-40B4-BE49-F238E27FC236}">
                      <a16:creationId xmlns:a16="http://schemas.microsoft.com/office/drawing/2014/main" id="{D4270DBD-A41B-413A-A579-CAEF48AB140E}"/>
                    </a:ext>
                  </a:extLst>
                </p:cNvPr>
                <p:cNvSpPr>
                  <a:spLocks/>
                </p:cNvSpPr>
                <p:nvPr/>
              </p:nvSpPr>
              <p:spPr bwMode="auto">
                <a:xfrm>
                  <a:off x="-687930" y="4243682"/>
                  <a:ext cx="120467" cy="109261"/>
                </a:xfrm>
                <a:custGeom>
                  <a:avLst/>
                  <a:gdLst>
                    <a:gd name="T0" fmla="*/ 5 w 36"/>
                    <a:gd name="T1" fmla="*/ 25 h 33"/>
                    <a:gd name="T2" fmla="*/ 9 w 36"/>
                    <a:gd name="T3" fmla="*/ 5 h 33"/>
                    <a:gd name="T4" fmla="*/ 30 w 36"/>
                    <a:gd name="T5" fmla="*/ 8 h 33"/>
                    <a:gd name="T6" fmla="*/ 27 w 36"/>
                    <a:gd name="T7" fmla="*/ 28 h 33"/>
                    <a:gd name="T8" fmla="*/ 5 w 36"/>
                    <a:gd name="T9" fmla="*/ 25 h 33"/>
                  </a:gdLst>
                  <a:ahLst/>
                  <a:cxnLst>
                    <a:cxn ang="0">
                      <a:pos x="T0" y="T1"/>
                    </a:cxn>
                    <a:cxn ang="0">
                      <a:pos x="T2" y="T3"/>
                    </a:cxn>
                    <a:cxn ang="0">
                      <a:pos x="T4" y="T5"/>
                    </a:cxn>
                    <a:cxn ang="0">
                      <a:pos x="T6" y="T7"/>
                    </a:cxn>
                    <a:cxn ang="0">
                      <a:pos x="T8" y="T9"/>
                    </a:cxn>
                  </a:cxnLst>
                  <a:rect l="0" t="0" r="r" b="b"/>
                  <a:pathLst>
                    <a:path w="36" h="33">
                      <a:moveTo>
                        <a:pt x="5" y="25"/>
                      </a:moveTo>
                      <a:cubicBezTo>
                        <a:pt x="0" y="19"/>
                        <a:pt x="2" y="9"/>
                        <a:pt x="9" y="5"/>
                      </a:cubicBezTo>
                      <a:cubicBezTo>
                        <a:pt x="16" y="0"/>
                        <a:pt x="25" y="1"/>
                        <a:pt x="30" y="8"/>
                      </a:cubicBezTo>
                      <a:cubicBezTo>
                        <a:pt x="36" y="14"/>
                        <a:pt x="33" y="23"/>
                        <a:pt x="27" y="28"/>
                      </a:cubicBezTo>
                      <a:cubicBezTo>
                        <a:pt x="20" y="33"/>
                        <a:pt x="10" y="32"/>
                        <a:pt x="5"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Ubuntu" panose="020B0504030602030204" pitchFamily="34" charset="0"/>
                    <a:ea typeface="+mn-ea"/>
                    <a:cs typeface="+mn-cs"/>
                  </a:endParaRPr>
                </a:p>
              </p:txBody>
            </p:sp>
          </p:grpSp>
        </p:grpSp>
      </p:grpSp>
      <p:sp>
        <p:nvSpPr>
          <p:cNvPr id="35" name="TextBox 34">
            <a:extLst>
              <a:ext uri="{FF2B5EF4-FFF2-40B4-BE49-F238E27FC236}">
                <a16:creationId xmlns:a16="http://schemas.microsoft.com/office/drawing/2014/main" id="{18AE2A94-F697-404B-9643-0E79321E3699}"/>
              </a:ext>
            </a:extLst>
          </p:cNvPr>
          <p:cNvSpPr txBox="1">
            <a:spLocks/>
          </p:cNvSpPr>
          <p:nvPr/>
        </p:nvSpPr>
        <p:spPr>
          <a:xfrm>
            <a:off x="518305" y="3062652"/>
            <a:ext cx="5824850" cy="1422441"/>
          </a:xfrm>
          <a:prstGeom prst="rect">
            <a:avLst/>
          </a:prstGeom>
          <a:noFill/>
        </p:spPr>
        <p:txBody>
          <a:bodyPr wrap="square" lIns="0" tIns="0" rIns="0" bIns="0" rtlCol="0">
            <a:spAutoFit/>
          </a:bodyPr>
          <a:lstStyle/>
          <a:p>
            <a:pPr marL="171450" marR="0" lvl="0" indent="-171450" algn="l" defTabSz="914400" rtl="0" eaLnBrk="1" fontAlgn="auto" latinLnBrk="0" hangingPunct="1">
              <a:lnSpc>
                <a:spcPct val="90000"/>
              </a:lnSpc>
              <a:spcBef>
                <a:spcPts val="0"/>
              </a:spcBef>
              <a:spcAft>
                <a:spcPts val="200"/>
              </a:spcAft>
              <a:buClr>
                <a:srgbClr val="0070AD"/>
              </a:buClr>
              <a:buSzTx/>
              <a:buFont typeface="Wingdings" panose="05000000000000000000" pitchFamily="2" charset="2"/>
              <a:buChar char="§"/>
              <a:tabLst/>
              <a:defRPr/>
            </a:pPr>
            <a:r>
              <a:rPr kumimoji="0" lang="en-IN" sz="1100" b="0" i="0" u="none" strike="noStrike" kern="1200" cap="none" spc="0" normalizeH="0" baseline="0" noProof="0">
                <a:ln>
                  <a:noFill/>
                </a:ln>
                <a:solidFill>
                  <a:prstClr val="black"/>
                </a:solidFill>
                <a:effectLst/>
                <a:uLnTx/>
                <a:uFillTx/>
                <a:latin typeface="Ubuntu Medium"/>
                <a:ea typeface="+mn-ea"/>
                <a:cs typeface="+mn-cs"/>
              </a:rPr>
              <a:t>A study of the processes for NB, POS and Claims led to defining a roadmap for the future state workflow solution. The solution encompassed NB (Multi channel app submission, auto data extraction, unified underwriting workbench,  automation for application processing) POS (Enhance mobile platform, Automate simple servicing transactions) Claims (Electronic submission, rule based data driven adjudication etc.)</a:t>
            </a:r>
          </a:p>
          <a:p>
            <a:pPr marL="171450" marR="0" lvl="0" indent="-171450" algn="l" defTabSz="914400" rtl="0" eaLnBrk="1" fontAlgn="auto" latinLnBrk="0" hangingPunct="1">
              <a:lnSpc>
                <a:spcPct val="90000"/>
              </a:lnSpc>
              <a:spcBef>
                <a:spcPts val="0"/>
              </a:spcBef>
              <a:spcAft>
                <a:spcPts val="200"/>
              </a:spcAft>
              <a:buClr>
                <a:srgbClr val="0070AD"/>
              </a:buClr>
              <a:buSzTx/>
              <a:buFont typeface="Wingdings" panose="05000000000000000000" pitchFamily="2" charset="2"/>
              <a:buChar char="§"/>
              <a:tabLst/>
              <a:defRPr/>
            </a:pPr>
            <a:endParaRPr kumimoji="0" lang="en-IN" sz="1100" b="0" i="0" u="none" strike="noStrike" kern="1200" cap="none" spc="0" normalizeH="0" baseline="0" noProof="0">
              <a:ln>
                <a:noFill/>
              </a:ln>
              <a:solidFill>
                <a:prstClr val="black"/>
              </a:solidFill>
              <a:effectLst/>
              <a:uLnTx/>
              <a:uFillTx/>
              <a:latin typeface="Ubuntu Medium"/>
              <a:ea typeface="+mn-ea"/>
              <a:cs typeface="+mn-cs"/>
            </a:endParaRPr>
          </a:p>
          <a:p>
            <a:pPr marL="171450" marR="0" lvl="0" indent="-171450" algn="l" defTabSz="914400" rtl="0" eaLnBrk="1" fontAlgn="auto" latinLnBrk="0" hangingPunct="1">
              <a:lnSpc>
                <a:spcPct val="90000"/>
              </a:lnSpc>
              <a:spcBef>
                <a:spcPts val="0"/>
              </a:spcBef>
              <a:spcAft>
                <a:spcPts val="200"/>
              </a:spcAft>
              <a:buClr>
                <a:srgbClr val="0070AD"/>
              </a:buClr>
              <a:buSzTx/>
              <a:buFont typeface="Wingdings" panose="05000000000000000000" pitchFamily="2" charset="2"/>
              <a:buChar char="§"/>
              <a:tabLst/>
              <a:defRPr/>
            </a:pPr>
            <a:r>
              <a:rPr kumimoji="0" lang="en-IN" sz="1100" b="0" i="0" u="none" strike="noStrike" kern="1200" cap="none" spc="0" normalizeH="0" baseline="0" noProof="0">
                <a:ln>
                  <a:noFill/>
                </a:ln>
                <a:solidFill>
                  <a:prstClr val="black"/>
                </a:solidFill>
                <a:effectLst/>
                <a:uLnTx/>
                <a:uFillTx/>
                <a:latin typeface="Ubuntu Medium"/>
                <a:ea typeface="+mn-ea"/>
                <a:cs typeface="+mn-cs"/>
              </a:rPr>
              <a:t>Development and implementation of a workflow solution to cater to the ask and achieve operational excellence  and drive operational efficiencies, and enhanced customer service.</a:t>
            </a:r>
          </a:p>
        </p:txBody>
      </p:sp>
      <p:grpSp>
        <p:nvGrpSpPr>
          <p:cNvPr id="7" name="Group 6">
            <a:extLst>
              <a:ext uri="{FF2B5EF4-FFF2-40B4-BE49-F238E27FC236}">
                <a16:creationId xmlns:a16="http://schemas.microsoft.com/office/drawing/2014/main" id="{F80BF641-28DA-49F6-B4F5-B37C0FF2B94D}"/>
              </a:ext>
            </a:extLst>
          </p:cNvPr>
          <p:cNvGrpSpPr/>
          <p:nvPr/>
        </p:nvGrpSpPr>
        <p:grpSpPr>
          <a:xfrm>
            <a:off x="277941" y="2539495"/>
            <a:ext cx="2640237" cy="520776"/>
            <a:chOff x="322513" y="3132432"/>
            <a:chExt cx="2640237" cy="520776"/>
          </a:xfrm>
        </p:grpSpPr>
        <p:sp>
          <p:nvSpPr>
            <p:cNvPr id="37" name="Rectangle: Top Corners Snipped 46">
              <a:extLst>
                <a:ext uri="{FF2B5EF4-FFF2-40B4-BE49-F238E27FC236}">
                  <a16:creationId xmlns:a16="http://schemas.microsoft.com/office/drawing/2014/main" id="{5C849AE4-AD2C-4BCF-81E3-D33E7EB51E46}"/>
                </a:ext>
              </a:extLst>
            </p:cNvPr>
            <p:cNvSpPr>
              <a:spLocks/>
            </p:cNvSpPr>
            <p:nvPr/>
          </p:nvSpPr>
          <p:spPr>
            <a:xfrm>
              <a:off x="783742" y="3235663"/>
              <a:ext cx="2179008" cy="322068"/>
            </a:xfrm>
            <a:prstGeom prst="rect">
              <a:avLst/>
            </a:prstGeom>
            <a:solidFill>
              <a:schemeClr val="accent2"/>
            </a:solid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prstClr val="white"/>
                  </a:solidFill>
                  <a:effectLst/>
                  <a:uLnTx/>
                  <a:uFillTx/>
                  <a:latin typeface="Ubuntu" panose="020B0504030602030204" pitchFamily="34" charset="0"/>
                  <a:ea typeface="+mn-ea"/>
                  <a:cs typeface="+mn-cs"/>
                </a:rPr>
                <a:t>    Solution</a:t>
              </a:r>
            </a:p>
          </p:txBody>
        </p:sp>
        <p:sp>
          <p:nvSpPr>
            <p:cNvPr id="38" name="Oval 37">
              <a:extLst>
                <a:ext uri="{FF2B5EF4-FFF2-40B4-BE49-F238E27FC236}">
                  <a16:creationId xmlns:a16="http://schemas.microsoft.com/office/drawing/2014/main" id="{68959B59-D403-427C-822A-3CB09134F2D3}"/>
                </a:ext>
              </a:extLst>
            </p:cNvPr>
            <p:cNvSpPr/>
            <p:nvPr/>
          </p:nvSpPr>
          <p:spPr>
            <a:xfrm>
              <a:off x="322513" y="3132432"/>
              <a:ext cx="520776" cy="520776"/>
            </a:xfrm>
            <a:prstGeom prst="ellipse">
              <a:avLst/>
            </a:prstGeom>
            <a:solidFill>
              <a:schemeClr val="accent1">
                <a:lumMod val="7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Ubuntu" panose="020B0504030602030204" pitchFamily="34" charset="0"/>
                <a:ea typeface="+mn-ea"/>
                <a:cs typeface="+mn-cs"/>
              </a:endParaRPr>
            </a:p>
          </p:txBody>
        </p:sp>
        <p:grpSp>
          <p:nvGrpSpPr>
            <p:cNvPr id="39" name="Group 148">
              <a:extLst>
                <a:ext uri="{FF2B5EF4-FFF2-40B4-BE49-F238E27FC236}">
                  <a16:creationId xmlns:a16="http://schemas.microsoft.com/office/drawing/2014/main" id="{B1CCC848-FD98-46C3-B4F9-6FCA5D91785E}"/>
                </a:ext>
              </a:extLst>
            </p:cNvPr>
            <p:cNvGrpSpPr/>
            <p:nvPr/>
          </p:nvGrpSpPr>
          <p:grpSpPr>
            <a:xfrm>
              <a:off x="403340" y="3258953"/>
              <a:ext cx="319043" cy="267739"/>
              <a:chOff x="6024422" y="2090478"/>
              <a:chExt cx="1035584" cy="869053"/>
            </a:xfrm>
            <a:solidFill>
              <a:schemeClr val="bg1"/>
            </a:solidFill>
          </p:grpSpPr>
          <p:sp>
            <p:nvSpPr>
              <p:cNvPr id="40" name="Freeform 26">
                <a:extLst>
                  <a:ext uri="{FF2B5EF4-FFF2-40B4-BE49-F238E27FC236}">
                    <a16:creationId xmlns:a16="http://schemas.microsoft.com/office/drawing/2014/main" id="{81713820-C35E-4647-9BF5-D90995D6838D}"/>
                  </a:ext>
                </a:extLst>
              </p:cNvPr>
              <p:cNvSpPr>
                <a:spLocks/>
              </p:cNvSpPr>
              <p:nvPr/>
            </p:nvSpPr>
            <p:spPr bwMode="auto">
              <a:xfrm>
                <a:off x="6603790" y="2493517"/>
                <a:ext cx="456216" cy="466014"/>
              </a:xfrm>
              <a:custGeom>
                <a:avLst/>
                <a:gdLst>
                  <a:gd name="T0" fmla="*/ 699 w 749"/>
                  <a:gd name="T1" fmla="*/ 441 h 763"/>
                  <a:gd name="T2" fmla="*/ 260 w 749"/>
                  <a:gd name="T3" fmla="*/ 0 h 763"/>
                  <a:gd name="T4" fmla="*/ 204 w 749"/>
                  <a:gd name="T5" fmla="*/ 96 h 763"/>
                  <a:gd name="T6" fmla="*/ 599 w 749"/>
                  <a:gd name="T7" fmla="*/ 493 h 763"/>
                  <a:gd name="T8" fmla="*/ 599 w 749"/>
                  <a:gd name="T9" fmla="*/ 540 h 763"/>
                  <a:gd name="T10" fmla="*/ 575 w 749"/>
                  <a:gd name="T11" fmla="*/ 549 h 763"/>
                  <a:gd name="T12" fmla="*/ 552 w 749"/>
                  <a:gd name="T13" fmla="*/ 540 h 763"/>
                  <a:gd name="T14" fmla="*/ 161 w 749"/>
                  <a:gd name="T15" fmla="*/ 146 h 763"/>
                  <a:gd name="T16" fmla="*/ 159 w 749"/>
                  <a:gd name="T17" fmla="*/ 149 h 763"/>
                  <a:gd name="T18" fmla="*/ 159 w 749"/>
                  <a:gd name="T19" fmla="*/ 149 h 763"/>
                  <a:gd name="T20" fmla="*/ 0 w 749"/>
                  <a:gd name="T21" fmla="*/ 254 h 763"/>
                  <a:gd name="T22" fmla="*/ 4 w 749"/>
                  <a:gd name="T23" fmla="*/ 367 h 763"/>
                  <a:gd name="T24" fmla="*/ 45 w 749"/>
                  <a:gd name="T25" fmla="*/ 409 h 763"/>
                  <a:gd name="T26" fmla="*/ 172 w 749"/>
                  <a:gd name="T27" fmla="*/ 414 h 763"/>
                  <a:gd name="T28" fmla="*/ 176 w 749"/>
                  <a:gd name="T29" fmla="*/ 540 h 763"/>
                  <a:gd name="T30" fmla="*/ 218 w 749"/>
                  <a:gd name="T31" fmla="*/ 582 h 763"/>
                  <a:gd name="T32" fmla="*/ 344 w 749"/>
                  <a:gd name="T33" fmla="*/ 587 h 763"/>
                  <a:gd name="T34" fmla="*/ 348 w 749"/>
                  <a:gd name="T35" fmla="*/ 713 h 763"/>
                  <a:gd name="T36" fmla="*/ 361 w 749"/>
                  <a:gd name="T37" fmla="*/ 742 h 763"/>
                  <a:gd name="T38" fmla="*/ 390 w 749"/>
                  <a:gd name="T39" fmla="*/ 755 h 763"/>
                  <a:gd name="T40" fmla="*/ 557 w 749"/>
                  <a:gd name="T41" fmla="*/ 762 h 763"/>
                  <a:gd name="T42" fmla="*/ 557 w 749"/>
                  <a:gd name="T43" fmla="*/ 741 h 763"/>
                  <a:gd name="T44" fmla="*/ 557 w 749"/>
                  <a:gd name="T45" fmla="*/ 762 h 763"/>
                  <a:gd name="T46" fmla="*/ 564 w 749"/>
                  <a:gd name="T47" fmla="*/ 763 h 763"/>
                  <a:gd name="T48" fmla="*/ 697 w 749"/>
                  <a:gd name="T49" fmla="*/ 707 h 763"/>
                  <a:gd name="T50" fmla="*/ 749 w 749"/>
                  <a:gd name="T51" fmla="*/ 573 h 763"/>
                  <a:gd name="T52" fmla="*/ 699 w 749"/>
                  <a:gd name="T53" fmla="*/ 441 h 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49" h="763">
                    <a:moveTo>
                      <a:pt x="699" y="441"/>
                    </a:moveTo>
                    <a:cubicBezTo>
                      <a:pt x="659" y="401"/>
                      <a:pt x="417" y="157"/>
                      <a:pt x="260" y="0"/>
                    </a:cubicBezTo>
                    <a:cubicBezTo>
                      <a:pt x="246" y="33"/>
                      <a:pt x="227" y="66"/>
                      <a:pt x="204" y="96"/>
                    </a:cubicBezTo>
                    <a:cubicBezTo>
                      <a:pt x="599" y="493"/>
                      <a:pt x="599" y="493"/>
                      <a:pt x="599" y="493"/>
                    </a:cubicBezTo>
                    <a:cubicBezTo>
                      <a:pt x="612" y="506"/>
                      <a:pt x="611" y="527"/>
                      <a:pt x="599" y="540"/>
                    </a:cubicBezTo>
                    <a:cubicBezTo>
                      <a:pt x="592" y="546"/>
                      <a:pt x="584" y="549"/>
                      <a:pt x="575" y="549"/>
                    </a:cubicBezTo>
                    <a:cubicBezTo>
                      <a:pt x="567" y="549"/>
                      <a:pt x="558" y="546"/>
                      <a:pt x="552" y="540"/>
                    </a:cubicBezTo>
                    <a:cubicBezTo>
                      <a:pt x="161" y="146"/>
                      <a:pt x="161" y="146"/>
                      <a:pt x="161" y="146"/>
                    </a:cubicBezTo>
                    <a:cubicBezTo>
                      <a:pt x="160" y="147"/>
                      <a:pt x="159" y="148"/>
                      <a:pt x="159" y="149"/>
                    </a:cubicBezTo>
                    <a:cubicBezTo>
                      <a:pt x="159" y="149"/>
                      <a:pt x="159" y="149"/>
                      <a:pt x="159" y="149"/>
                    </a:cubicBezTo>
                    <a:cubicBezTo>
                      <a:pt x="112" y="195"/>
                      <a:pt x="58" y="230"/>
                      <a:pt x="0" y="254"/>
                    </a:cubicBezTo>
                    <a:cubicBezTo>
                      <a:pt x="4" y="367"/>
                      <a:pt x="4" y="367"/>
                      <a:pt x="4" y="367"/>
                    </a:cubicBezTo>
                    <a:cubicBezTo>
                      <a:pt x="5" y="389"/>
                      <a:pt x="23" y="408"/>
                      <a:pt x="45" y="409"/>
                    </a:cubicBezTo>
                    <a:cubicBezTo>
                      <a:pt x="172" y="414"/>
                      <a:pt x="172" y="414"/>
                      <a:pt x="172" y="414"/>
                    </a:cubicBezTo>
                    <a:cubicBezTo>
                      <a:pt x="176" y="540"/>
                      <a:pt x="176" y="540"/>
                      <a:pt x="176" y="540"/>
                    </a:cubicBezTo>
                    <a:cubicBezTo>
                      <a:pt x="177" y="563"/>
                      <a:pt x="195" y="581"/>
                      <a:pt x="218" y="582"/>
                    </a:cubicBezTo>
                    <a:cubicBezTo>
                      <a:pt x="344" y="587"/>
                      <a:pt x="344" y="587"/>
                      <a:pt x="344" y="587"/>
                    </a:cubicBezTo>
                    <a:cubicBezTo>
                      <a:pt x="348" y="713"/>
                      <a:pt x="348" y="713"/>
                      <a:pt x="348" y="713"/>
                    </a:cubicBezTo>
                    <a:cubicBezTo>
                      <a:pt x="348" y="724"/>
                      <a:pt x="353" y="735"/>
                      <a:pt x="361" y="742"/>
                    </a:cubicBezTo>
                    <a:cubicBezTo>
                      <a:pt x="368" y="750"/>
                      <a:pt x="378" y="755"/>
                      <a:pt x="390" y="755"/>
                    </a:cubicBezTo>
                    <a:cubicBezTo>
                      <a:pt x="389" y="755"/>
                      <a:pt x="526" y="761"/>
                      <a:pt x="557" y="762"/>
                    </a:cubicBezTo>
                    <a:cubicBezTo>
                      <a:pt x="557" y="741"/>
                      <a:pt x="557" y="741"/>
                      <a:pt x="557" y="741"/>
                    </a:cubicBezTo>
                    <a:cubicBezTo>
                      <a:pt x="557" y="762"/>
                      <a:pt x="557" y="762"/>
                      <a:pt x="557" y="762"/>
                    </a:cubicBezTo>
                    <a:cubicBezTo>
                      <a:pt x="559" y="763"/>
                      <a:pt x="561" y="763"/>
                      <a:pt x="564" y="763"/>
                    </a:cubicBezTo>
                    <a:cubicBezTo>
                      <a:pt x="618" y="763"/>
                      <a:pt x="664" y="740"/>
                      <a:pt x="697" y="707"/>
                    </a:cubicBezTo>
                    <a:cubicBezTo>
                      <a:pt x="733" y="672"/>
                      <a:pt x="749" y="622"/>
                      <a:pt x="749" y="573"/>
                    </a:cubicBezTo>
                    <a:cubicBezTo>
                      <a:pt x="749" y="524"/>
                      <a:pt x="733" y="476"/>
                      <a:pt x="699" y="4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noProof="0">
                  <a:ln>
                    <a:noFill/>
                  </a:ln>
                  <a:solidFill>
                    <a:srgbClr val="000000"/>
                  </a:solidFill>
                  <a:effectLst/>
                  <a:uLnTx/>
                  <a:uFillTx/>
                  <a:latin typeface="Ubuntu" panose="020B0504030602030204" pitchFamily="34" charset="0"/>
                  <a:ea typeface="+mn-ea"/>
                  <a:cs typeface="+mn-cs"/>
                </a:endParaRPr>
              </a:p>
            </p:txBody>
          </p:sp>
          <p:sp>
            <p:nvSpPr>
              <p:cNvPr id="41" name="Freeform 27">
                <a:extLst>
                  <a:ext uri="{FF2B5EF4-FFF2-40B4-BE49-F238E27FC236}">
                    <a16:creationId xmlns:a16="http://schemas.microsoft.com/office/drawing/2014/main" id="{FD607E45-3CE4-4E27-B4E0-7B44597933CA}"/>
                  </a:ext>
                </a:extLst>
              </p:cNvPr>
              <p:cNvSpPr>
                <a:spLocks noEditPoints="1"/>
              </p:cNvSpPr>
              <p:nvPr/>
            </p:nvSpPr>
            <p:spPr bwMode="auto">
              <a:xfrm>
                <a:off x="6024422" y="2090478"/>
                <a:ext cx="740303" cy="589164"/>
              </a:xfrm>
              <a:custGeom>
                <a:avLst/>
                <a:gdLst>
                  <a:gd name="T0" fmla="*/ 1069 w 1214"/>
                  <a:gd name="T1" fmla="*/ 754 h 966"/>
                  <a:gd name="T2" fmla="*/ 1099 w 1214"/>
                  <a:gd name="T3" fmla="*/ 719 h 966"/>
                  <a:gd name="T4" fmla="*/ 1159 w 1214"/>
                  <a:gd name="T5" fmla="*/ 610 h 966"/>
                  <a:gd name="T6" fmla="*/ 1063 w 1214"/>
                  <a:gd name="T7" fmla="*/ 166 h 966"/>
                  <a:gd name="T8" fmla="*/ 466 w 1214"/>
                  <a:gd name="T9" fmla="*/ 164 h 966"/>
                  <a:gd name="T10" fmla="*/ 356 w 1214"/>
                  <a:gd name="T11" fmla="*/ 357 h 966"/>
                  <a:gd name="T12" fmla="*/ 249 w 1214"/>
                  <a:gd name="T13" fmla="*/ 429 h 966"/>
                  <a:gd name="T14" fmla="*/ 47 w 1214"/>
                  <a:gd name="T15" fmla="*/ 661 h 966"/>
                  <a:gd name="T16" fmla="*/ 16 w 1214"/>
                  <a:gd name="T17" fmla="*/ 851 h 966"/>
                  <a:gd name="T18" fmla="*/ 42 w 1214"/>
                  <a:gd name="T19" fmla="*/ 902 h 966"/>
                  <a:gd name="T20" fmla="*/ 94 w 1214"/>
                  <a:gd name="T21" fmla="*/ 944 h 966"/>
                  <a:gd name="T22" fmla="*/ 192 w 1214"/>
                  <a:gd name="T23" fmla="*/ 966 h 966"/>
                  <a:gd name="T24" fmla="*/ 541 w 1214"/>
                  <a:gd name="T25" fmla="*/ 822 h 966"/>
                  <a:gd name="T26" fmla="*/ 924 w 1214"/>
                  <a:gd name="T27" fmla="*/ 854 h 966"/>
                  <a:gd name="T28" fmla="*/ 1061 w 1214"/>
                  <a:gd name="T29" fmla="*/ 763 h 966"/>
                  <a:gd name="T30" fmla="*/ 1069 w 1214"/>
                  <a:gd name="T31" fmla="*/ 754 h 966"/>
                  <a:gd name="T32" fmla="*/ 790 w 1214"/>
                  <a:gd name="T33" fmla="*/ 470 h 966"/>
                  <a:gd name="T34" fmla="*/ 780 w 1214"/>
                  <a:gd name="T35" fmla="*/ 480 h 966"/>
                  <a:gd name="T36" fmla="*/ 776 w 1214"/>
                  <a:gd name="T37" fmla="*/ 485 h 966"/>
                  <a:gd name="T38" fmla="*/ 688 w 1214"/>
                  <a:gd name="T39" fmla="*/ 518 h 966"/>
                  <a:gd name="T40" fmla="*/ 641 w 1214"/>
                  <a:gd name="T41" fmla="*/ 510 h 966"/>
                  <a:gd name="T42" fmla="*/ 636 w 1214"/>
                  <a:gd name="T43" fmla="*/ 522 h 966"/>
                  <a:gd name="T44" fmla="*/ 470 w 1214"/>
                  <a:gd name="T45" fmla="*/ 711 h 966"/>
                  <a:gd name="T46" fmla="*/ 439 w 1214"/>
                  <a:gd name="T47" fmla="*/ 733 h 966"/>
                  <a:gd name="T48" fmla="*/ 192 w 1214"/>
                  <a:gd name="T49" fmla="*/ 834 h 966"/>
                  <a:gd name="T50" fmla="*/ 146 w 1214"/>
                  <a:gd name="T51" fmla="*/ 820 h 966"/>
                  <a:gd name="T52" fmla="*/ 149 w 1214"/>
                  <a:gd name="T53" fmla="*/ 756 h 966"/>
                  <a:gd name="T54" fmla="*/ 164 w 1214"/>
                  <a:gd name="T55" fmla="*/ 722 h 966"/>
                  <a:gd name="T56" fmla="*/ 330 w 1214"/>
                  <a:gd name="T57" fmla="*/ 533 h 966"/>
                  <a:gd name="T58" fmla="*/ 346 w 1214"/>
                  <a:gd name="T59" fmla="*/ 521 h 966"/>
                  <a:gd name="T60" fmla="*/ 391 w 1214"/>
                  <a:gd name="T61" fmla="*/ 660 h 966"/>
                  <a:gd name="T62" fmla="*/ 417 w 1214"/>
                  <a:gd name="T63" fmla="*/ 641 h 966"/>
                  <a:gd name="T64" fmla="*/ 565 w 1214"/>
                  <a:gd name="T65" fmla="*/ 480 h 966"/>
                  <a:gd name="T66" fmla="*/ 577 w 1214"/>
                  <a:gd name="T67" fmla="*/ 457 h 966"/>
                  <a:gd name="T68" fmla="*/ 561 w 1214"/>
                  <a:gd name="T69" fmla="*/ 415 h 966"/>
                  <a:gd name="T70" fmla="*/ 558 w 1214"/>
                  <a:gd name="T71" fmla="*/ 387 h 966"/>
                  <a:gd name="T72" fmla="*/ 596 w 1214"/>
                  <a:gd name="T73" fmla="*/ 295 h 966"/>
                  <a:gd name="T74" fmla="*/ 618 w 1214"/>
                  <a:gd name="T75" fmla="*/ 278 h 966"/>
                  <a:gd name="T76" fmla="*/ 679 w 1214"/>
                  <a:gd name="T77" fmla="*/ 258 h 966"/>
                  <a:gd name="T78" fmla="*/ 688 w 1214"/>
                  <a:gd name="T79" fmla="*/ 257 h 966"/>
                  <a:gd name="T80" fmla="*/ 781 w 1214"/>
                  <a:gd name="T81" fmla="*/ 296 h 966"/>
                  <a:gd name="T82" fmla="*/ 819 w 1214"/>
                  <a:gd name="T83" fmla="*/ 385 h 966"/>
                  <a:gd name="T84" fmla="*/ 790 w 1214"/>
                  <a:gd name="T85" fmla="*/ 470 h 9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14" h="966">
                    <a:moveTo>
                      <a:pt x="1069" y="754"/>
                    </a:moveTo>
                    <a:cubicBezTo>
                      <a:pt x="1080" y="743"/>
                      <a:pt x="1090" y="731"/>
                      <a:pt x="1099" y="719"/>
                    </a:cubicBezTo>
                    <a:cubicBezTo>
                      <a:pt x="1125" y="685"/>
                      <a:pt x="1145" y="649"/>
                      <a:pt x="1159" y="610"/>
                    </a:cubicBezTo>
                    <a:cubicBezTo>
                      <a:pt x="1214" y="461"/>
                      <a:pt x="1183" y="287"/>
                      <a:pt x="1063" y="166"/>
                    </a:cubicBezTo>
                    <a:cubicBezTo>
                      <a:pt x="899" y="1"/>
                      <a:pt x="632" y="0"/>
                      <a:pt x="466" y="164"/>
                    </a:cubicBezTo>
                    <a:cubicBezTo>
                      <a:pt x="411" y="220"/>
                      <a:pt x="374" y="286"/>
                      <a:pt x="356" y="357"/>
                    </a:cubicBezTo>
                    <a:cubicBezTo>
                      <a:pt x="320" y="378"/>
                      <a:pt x="284" y="402"/>
                      <a:pt x="249" y="429"/>
                    </a:cubicBezTo>
                    <a:cubicBezTo>
                      <a:pt x="160" y="498"/>
                      <a:pt x="88" y="581"/>
                      <a:pt x="47" y="661"/>
                    </a:cubicBezTo>
                    <a:cubicBezTo>
                      <a:pt x="10" y="733"/>
                      <a:pt x="0" y="798"/>
                      <a:pt x="16" y="851"/>
                    </a:cubicBezTo>
                    <a:cubicBezTo>
                      <a:pt x="21" y="870"/>
                      <a:pt x="30" y="887"/>
                      <a:pt x="42" y="902"/>
                    </a:cubicBezTo>
                    <a:cubicBezTo>
                      <a:pt x="53" y="916"/>
                      <a:pt x="70" y="932"/>
                      <a:pt x="94" y="944"/>
                    </a:cubicBezTo>
                    <a:cubicBezTo>
                      <a:pt x="118" y="957"/>
                      <a:pt x="150" y="966"/>
                      <a:pt x="192" y="966"/>
                    </a:cubicBezTo>
                    <a:cubicBezTo>
                      <a:pt x="293" y="966"/>
                      <a:pt x="423" y="912"/>
                      <a:pt x="541" y="822"/>
                    </a:cubicBezTo>
                    <a:cubicBezTo>
                      <a:pt x="657" y="894"/>
                      <a:pt x="800" y="905"/>
                      <a:pt x="924" y="854"/>
                    </a:cubicBezTo>
                    <a:cubicBezTo>
                      <a:pt x="974" y="833"/>
                      <a:pt x="1021" y="803"/>
                      <a:pt x="1061" y="763"/>
                    </a:cubicBezTo>
                    <a:cubicBezTo>
                      <a:pt x="1064" y="760"/>
                      <a:pt x="1066" y="757"/>
                      <a:pt x="1069" y="754"/>
                    </a:cubicBezTo>
                    <a:close/>
                    <a:moveTo>
                      <a:pt x="790" y="470"/>
                    </a:moveTo>
                    <a:cubicBezTo>
                      <a:pt x="787" y="473"/>
                      <a:pt x="784" y="477"/>
                      <a:pt x="780" y="480"/>
                    </a:cubicBezTo>
                    <a:cubicBezTo>
                      <a:pt x="779" y="482"/>
                      <a:pt x="777" y="483"/>
                      <a:pt x="776" y="485"/>
                    </a:cubicBezTo>
                    <a:cubicBezTo>
                      <a:pt x="752" y="506"/>
                      <a:pt x="721" y="518"/>
                      <a:pt x="688" y="518"/>
                    </a:cubicBezTo>
                    <a:cubicBezTo>
                      <a:pt x="672" y="518"/>
                      <a:pt x="656" y="515"/>
                      <a:pt x="641" y="510"/>
                    </a:cubicBezTo>
                    <a:cubicBezTo>
                      <a:pt x="640" y="514"/>
                      <a:pt x="638" y="518"/>
                      <a:pt x="636" y="522"/>
                    </a:cubicBezTo>
                    <a:cubicBezTo>
                      <a:pt x="603" y="584"/>
                      <a:pt x="543" y="653"/>
                      <a:pt x="470" y="711"/>
                    </a:cubicBezTo>
                    <a:cubicBezTo>
                      <a:pt x="460" y="718"/>
                      <a:pt x="450" y="726"/>
                      <a:pt x="439" y="733"/>
                    </a:cubicBezTo>
                    <a:cubicBezTo>
                      <a:pt x="352" y="795"/>
                      <a:pt x="258" y="834"/>
                      <a:pt x="192" y="834"/>
                    </a:cubicBezTo>
                    <a:cubicBezTo>
                      <a:pt x="170" y="834"/>
                      <a:pt x="152" y="829"/>
                      <a:pt x="146" y="820"/>
                    </a:cubicBezTo>
                    <a:cubicBezTo>
                      <a:pt x="139" y="811"/>
                      <a:pt x="138" y="789"/>
                      <a:pt x="149" y="756"/>
                    </a:cubicBezTo>
                    <a:cubicBezTo>
                      <a:pt x="153" y="746"/>
                      <a:pt x="158" y="734"/>
                      <a:pt x="164" y="722"/>
                    </a:cubicBezTo>
                    <a:cubicBezTo>
                      <a:pt x="197" y="659"/>
                      <a:pt x="257" y="590"/>
                      <a:pt x="330" y="533"/>
                    </a:cubicBezTo>
                    <a:cubicBezTo>
                      <a:pt x="336" y="529"/>
                      <a:pt x="341" y="525"/>
                      <a:pt x="346" y="521"/>
                    </a:cubicBezTo>
                    <a:cubicBezTo>
                      <a:pt x="353" y="569"/>
                      <a:pt x="367" y="616"/>
                      <a:pt x="391" y="660"/>
                    </a:cubicBezTo>
                    <a:cubicBezTo>
                      <a:pt x="400" y="654"/>
                      <a:pt x="409" y="647"/>
                      <a:pt x="417" y="641"/>
                    </a:cubicBezTo>
                    <a:cubicBezTo>
                      <a:pt x="480" y="591"/>
                      <a:pt x="532" y="534"/>
                      <a:pt x="565" y="480"/>
                    </a:cubicBezTo>
                    <a:cubicBezTo>
                      <a:pt x="570" y="472"/>
                      <a:pt x="574" y="464"/>
                      <a:pt x="577" y="457"/>
                    </a:cubicBezTo>
                    <a:cubicBezTo>
                      <a:pt x="569" y="444"/>
                      <a:pt x="564" y="430"/>
                      <a:pt x="561" y="415"/>
                    </a:cubicBezTo>
                    <a:cubicBezTo>
                      <a:pt x="559" y="406"/>
                      <a:pt x="558" y="397"/>
                      <a:pt x="558" y="387"/>
                    </a:cubicBezTo>
                    <a:cubicBezTo>
                      <a:pt x="558" y="353"/>
                      <a:pt x="571" y="320"/>
                      <a:pt x="596" y="295"/>
                    </a:cubicBezTo>
                    <a:cubicBezTo>
                      <a:pt x="603" y="289"/>
                      <a:pt x="610" y="283"/>
                      <a:pt x="618" y="278"/>
                    </a:cubicBezTo>
                    <a:cubicBezTo>
                      <a:pt x="636" y="266"/>
                      <a:pt x="657" y="259"/>
                      <a:pt x="679" y="258"/>
                    </a:cubicBezTo>
                    <a:cubicBezTo>
                      <a:pt x="682" y="257"/>
                      <a:pt x="685" y="257"/>
                      <a:pt x="688" y="257"/>
                    </a:cubicBezTo>
                    <a:cubicBezTo>
                      <a:pt x="723" y="257"/>
                      <a:pt x="756" y="271"/>
                      <a:pt x="781" y="296"/>
                    </a:cubicBezTo>
                    <a:cubicBezTo>
                      <a:pt x="805" y="321"/>
                      <a:pt x="818" y="353"/>
                      <a:pt x="819" y="385"/>
                    </a:cubicBezTo>
                    <a:cubicBezTo>
                      <a:pt x="819" y="415"/>
                      <a:pt x="810" y="445"/>
                      <a:pt x="790" y="4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noProof="0">
                  <a:ln>
                    <a:noFill/>
                  </a:ln>
                  <a:solidFill>
                    <a:srgbClr val="000000"/>
                  </a:solidFill>
                  <a:effectLst/>
                  <a:uLnTx/>
                  <a:uFillTx/>
                  <a:latin typeface="Ubuntu" panose="020B0504030602030204" pitchFamily="34" charset="0"/>
                  <a:ea typeface="+mn-ea"/>
                  <a:cs typeface="+mn-cs"/>
                </a:endParaRPr>
              </a:p>
            </p:txBody>
          </p:sp>
        </p:grpSp>
      </p:grpSp>
      <p:sp>
        <p:nvSpPr>
          <p:cNvPr id="42" name="TextBox 41">
            <a:extLst>
              <a:ext uri="{FF2B5EF4-FFF2-40B4-BE49-F238E27FC236}">
                <a16:creationId xmlns:a16="http://schemas.microsoft.com/office/drawing/2014/main" id="{0F08F3AC-8331-47DA-904E-56AAE2E666D4}"/>
              </a:ext>
            </a:extLst>
          </p:cNvPr>
          <p:cNvSpPr txBox="1">
            <a:spLocks/>
          </p:cNvSpPr>
          <p:nvPr/>
        </p:nvSpPr>
        <p:spPr>
          <a:xfrm>
            <a:off x="762204" y="4990305"/>
            <a:ext cx="5675511" cy="1449628"/>
          </a:xfrm>
          <a:prstGeom prst="rect">
            <a:avLst/>
          </a:prstGeom>
          <a:noFill/>
        </p:spPr>
        <p:txBody>
          <a:bodyPr wrap="square" lIns="0" tIns="0" rIns="0" bIns="0" rtlCol="0">
            <a:spAutoFit/>
          </a:bodyPr>
          <a:lstStyle/>
          <a:p>
            <a:pPr marL="171450" marR="0" lvl="0" indent="-171450" algn="l" defTabSz="914400" rtl="0" eaLnBrk="1" fontAlgn="auto" latinLnBrk="0" hangingPunct="1">
              <a:lnSpc>
                <a:spcPct val="90000"/>
              </a:lnSpc>
              <a:spcBef>
                <a:spcPts val="100"/>
              </a:spcBef>
              <a:spcAft>
                <a:spcPts val="200"/>
              </a:spcAft>
              <a:buClr>
                <a:srgbClr val="0070AD"/>
              </a:buClr>
              <a:buSzTx/>
              <a:buFont typeface="Wingdings" panose="05000000000000000000" pitchFamily="2" charset="2"/>
              <a:buChar char="§"/>
              <a:tabLst/>
              <a:defRPr/>
            </a:pPr>
            <a:r>
              <a:rPr kumimoji="0" lang="en-IN" sz="1100" b="0" i="0" u="none" strike="noStrike" kern="1200" cap="none" spc="0" normalizeH="0" baseline="0" noProof="0">
                <a:ln>
                  <a:noFill/>
                </a:ln>
                <a:solidFill>
                  <a:prstClr val="black"/>
                </a:solidFill>
                <a:effectLst/>
                <a:uLnTx/>
                <a:uFillTx/>
                <a:latin typeface="Ubuntu Medium"/>
                <a:ea typeface="+mn-ea"/>
                <a:cs typeface="+mn-cs"/>
              </a:rPr>
              <a:t>Business Process flow driven implementation </a:t>
            </a:r>
          </a:p>
          <a:p>
            <a:pPr marL="171450" marR="0" lvl="0" indent="-171450" algn="l" defTabSz="914400" rtl="0" eaLnBrk="1" fontAlgn="auto" latinLnBrk="0" hangingPunct="1">
              <a:lnSpc>
                <a:spcPct val="90000"/>
              </a:lnSpc>
              <a:spcBef>
                <a:spcPts val="100"/>
              </a:spcBef>
              <a:spcAft>
                <a:spcPts val="200"/>
              </a:spcAft>
              <a:buClr>
                <a:srgbClr val="0070AD"/>
              </a:buClr>
              <a:buSzTx/>
              <a:buFont typeface="Wingdings" panose="05000000000000000000" pitchFamily="2" charset="2"/>
              <a:buChar char="§"/>
              <a:tabLst/>
              <a:defRPr/>
            </a:pPr>
            <a:r>
              <a:rPr kumimoji="0" lang="en-IN" sz="1100" b="0" i="0" u="none" strike="noStrike" kern="1200" cap="none" spc="0" normalizeH="0" baseline="0" noProof="0">
                <a:ln>
                  <a:noFill/>
                </a:ln>
                <a:solidFill>
                  <a:prstClr val="black"/>
                </a:solidFill>
                <a:effectLst/>
                <a:uLnTx/>
                <a:uFillTx/>
                <a:latin typeface="Ubuntu Medium"/>
                <a:ea typeface="+mn-ea"/>
                <a:cs typeface="+mn-cs"/>
              </a:rPr>
              <a:t>Redefinition U/W rules to facilitate STP</a:t>
            </a:r>
          </a:p>
          <a:p>
            <a:pPr marL="171450" marR="0" lvl="0" indent="-171450" algn="l" defTabSz="914400" rtl="0" eaLnBrk="1" fontAlgn="auto" latinLnBrk="0" hangingPunct="1">
              <a:lnSpc>
                <a:spcPct val="90000"/>
              </a:lnSpc>
              <a:spcBef>
                <a:spcPts val="100"/>
              </a:spcBef>
              <a:spcAft>
                <a:spcPts val="200"/>
              </a:spcAft>
              <a:buClr>
                <a:srgbClr val="0070AD"/>
              </a:buClr>
              <a:buSzTx/>
              <a:buFont typeface="Wingdings" panose="05000000000000000000" pitchFamily="2" charset="2"/>
              <a:buChar char="§"/>
              <a:tabLst/>
              <a:defRPr/>
            </a:pPr>
            <a:r>
              <a:rPr kumimoji="0" lang="en-IN" sz="1100" b="0" i="0" u="none" strike="noStrike" kern="1200" cap="none" spc="0" normalizeH="0" baseline="0" noProof="0">
                <a:ln>
                  <a:noFill/>
                </a:ln>
                <a:solidFill>
                  <a:prstClr val="black"/>
                </a:solidFill>
                <a:effectLst/>
                <a:uLnTx/>
                <a:uFillTx/>
                <a:latin typeface="Ubuntu Medium"/>
                <a:ea typeface="+mn-ea"/>
                <a:cs typeface="+mn-cs"/>
              </a:rPr>
              <a:t>Functional &amp; Technical Components re-usability to the tune of 70-100%</a:t>
            </a:r>
          </a:p>
          <a:p>
            <a:pPr marL="171450" marR="0" lvl="0" indent="-171450" algn="l" defTabSz="914400" rtl="0" eaLnBrk="1" fontAlgn="auto" latinLnBrk="0" hangingPunct="1">
              <a:lnSpc>
                <a:spcPct val="90000"/>
              </a:lnSpc>
              <a:spcBef>
                <a:spcPts val="100"/>
              </a:spcBef>
              <a:spcAft>
                <a:spcPts val="200"/>
              </a:spcAft>
              <a:buClr>
                <a:srgbClr val="0070AD"/>
              </a:buClr>
              <a:buSzTx/>
              <a:buFont typeface="Wingdings" panose="05000000000000000000" pitchFamily="2" charset="2"/>
              <a:buChar char="§"/>
              <a:tabLst/>
              <a:defRPr/>
            </a:pPr>
            <a:r>
              <a:rPr kumimoji="0" lang="en-IN" sz="1100" b="0" i="0" u="none" strike="noStrike" kern="1200" cap="none" spc="0" normalizeH="0" baseline="0" noProof="0">
                <a:ln>
                  <a:noFill/>
                </a:ln>
                <a:solidFill>
                  <a:prstClr val="black"/>
                </a:solidFill>
                <a:effectLst/>
                <a:uLnTx/>
                <a:uFillTx/>
                <a:latin typeface="Ubuntu Medium"/>
                <a:ea typeface="+mn-ea"/>
                <a:cs typeface="+mn-cs"/>
              </a:rPr>
              <a:t>Enhanced efficiency of implementation – client landscape familiarity, implementation experience &amp; expertise</a:t>
            </a:r>
          </a:p>
          <a:p>
            <a:pPr marL="171450" marR="0" lvl="0" indent="-171450" algn="l" defTabSz="914400" rtl="0" eaLnBrk="1" fontAlgn="auto" latinLnBrk="0" hangingPunct="1">
              <a:lnSpc>
                <a:spcPct val="90000"/>
              </a:lnSpc>
              <a:spcBef>
                <a:spcPts val="100"/>
              </a:spcBef>
              <a:spcAft>
                <a:spcPts val="200"/>
              </a:spcAft>
              <a:buClr>
                <a:srgbClr val="0070AD"/>
              </a:buClr>
              <a:buSzTx/>
              <a:buFont typeface="Wingdings" panose="05000000000000000000" pitchFamily="2" charset="2"/>
              <a:buChar char="§"/>
              <a:tabLst/>
              <a:defRPr/>
            </a:pPr>
            <a:r>
              <a:rPr kumimoji="0" lang="en-IN" sz="1100" b="0" i="0" u="none" strike="noStrike" kern="1200" cap="none" spc="0" normalizeH="0" baseline="0" noProof="0">
                <a:ln>
                  <a:noFill/>
                </a:ln>
                <a:solidFill>
                  <a:prstClr val="black"/>
                </a:solidFill>
                <a:effectLst/>
                <a:uLnTx/>
                <a:uFillTx/>
                <a:latin typeface="Ubuntu Medium"/>
                <a:ea typeface="+mn-ea"/>
                <a:cs typeface="+mn-cs"/>
              </a:rPr>
              <a:t>Transformed Existing Workflow system with ‘next gen’ technology stacks</a:t>
            </a:r>
          </a:p>
          <a:p>
            <a:pPr marL="171450" marR="0" lvl="0" indent="-171450" algn="l" defTabSz="914400" rtl="0" eaLnBrk="1" fontAlgn="auto" latinLnBrk="0" hangingPunct="1">
              <a:lnSpc>
                <a:spcPct val="90000"/>
              </a:lnSpc>
              <a:spcBef>
                <a:spcPts val="100"/>
              </a:spcBef>
              <a:spcAft>
                <a:spcPts val="200"/>
              </a:spcAft>
              <a:buClr>
                <a:srgbClr val="0070AD"/>
              </a:buClr>
              <a:buSzTx/>
              <a:buFont typeface="Wingdings" panose="05000000000000000000" pitchFamily="2" charset="2"/>
              <a:buChar char="§"/>
              <a:tabLst/>
              <a:defRPr/>
            </a:pPr>
            <a:r>
              <a:rPr kumimoji="0" lang="en-IN" sz="1100" b="0" i="0" u="none" strike="noStrike" kern="1200" cap="none" spc="0" normalizeH="0" baseline="0" noProof="0">
                <a:ln>
                  <a:noFill/>
                </a:ln>
                <a:solidFill>
                  <a:prstClr val="black"/>
                </a:solidFill>
                <a:effectLst/>
                <a:uLnTx/>
                <a:uFillTx/>
                <a:latin typeface="Ubuntu Medium"/>
                <a:ea typeface="+mn-ea"/>
                <a:cs typeface="+mn-cs"/>
              </a:rPr>
              <a:t>Unified user experience through single workbench</a:t>
            </a:r>
          </a:p>
          <a:p>
            <a:pPr marL="171450" marR="0" lvl="0" indent="-171450" algn="l" defTabSz="914400" rtl="0" eaLnBrk="1" fontAlgn="auto" latinLnBrk="0" hangingPunct="1">
              <a:lnSpc>
                <a:spcPct val="90000"/>
              </a:lnSpc>
              <a:spcBef>
                <a:spcPts val="100"/>
              </a:spcBef>
              <a:spcAft>
                <a:spcPts val="200"/>
              </a:spcAft>
              <a:buClr>
                <a:srgbClr val="0070AD"/>
              </a:buClr>
              <a:buSzTx/>
              <a:buFont typeface="Wingdings" panose="05000000000000000000" pitchFamily="2" charset="2"/>
              <a:buChar char="§"/>
              <a:tabLst/>
              <a:defRPr/>
            </a:pPr>
            <a:r>
              <a:rPr kumimoji="0" lang="en-IN" sz="1100" b="0" i="0" u="none" strike="noStrike" kern="1200" cap="none" spc="0" normalizeH="0" baseline="0" noProof="0">
                <a:ln>
                  <a:noFill/>
                </a:ln>
                <a:solidFill>
                  <a:prstClr val="black"/>
                </a:solidFill>
                <a:effectLst/>
                <a:uLnTx/>
                <a:uFillTx/>
                <a:latin typeface="Ubuntu Medium"/>
                <a:ea typeface="+mn-ea"/>
                <a:cs typeface="+mn-cs"/>
              </a:rPr>
              <a:t>STP, data-driven flow through automation </a:t>
            </a:r>
          </a:p>
        </p:txBody>
      </p:sp>
      <p:sp>
        <p:nvSpPr>
          <p:cNvPr id="70" name="Rectangle 69">
            <a:extLst>
              <a:ext uri="{FF2B5EF4-FFF2-40B4-BE49-F238E27FC236}">
                <a16:creationId xmlns:a16="http://schemas.microsoft.com/office/drawing/2014/main" id="{13EFA1F3-45D8-4113-B6B7-A9CE23CBC306}"/>
              </a:ext>
            </a:extLst>
          </p:cNvPr>
          <p:cNvSpPr/>
          <p:nvPr/>
        </p:nvSpPr>
        <p:spPr>
          <a:xfrm>
            <a:off x="277941" y="172627"/>
            <a:ext cx="6217450" cy="1015663"/>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2000" b="1" i="0" u="none" strike="noStrike" kern="1200" cap="none" spc="0" normalizeH="0" baseline="0" noProof="0">
                <a:ln>
                  <a:noFill/>
                </a:ln>
                <a:solidFill>
                  <a:prstClr val="black"/>
                </a:solidFill>
                <a:effectLst/>
                <a:uLnTx/>
                <a:uFillTx/>
                <a:latin typeface="Ubuntu"/>
                <a:ea typeface="+mn-ea"/>
                <a:cs typeface="+mn-cs"/>
              </a:rPr>
              <a:t>INTELLIGENT PROCESS AUTOMATION FOR A GLOBAL INSURER FOR THEIR ASIA OPERATION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prstClr val="black"/>
              </a:solidFill>
              <a:effectLst/>
              <a:uLnTx/>
              <a:uFillTx/>
              <a:latin typeface="Ubuntu" panose="020B0504030602030204" pitchFamily="34" charset="0"/>
              <a:ea typeface="+mn-ea"/>
              <a:cs typeface="+mn-cs"/>
            </a:endParaRPr>
          </a:p>
        </p:txBody>
      </p:sp>
      <p:grpSp>
        <p:nvGrpSpPr>
          <p:cNvPr id="9" name="Group 8">
            <a:extLst>
              <a:ext uri="{FF2B5EF4-FFF2-40B4-BE49-F238E27FC236}">
                <a16:creationId xmlns:a16="http://schemas.microsoft.com/office/drawing/2014/main" id="{F197E89B-58AE-420F-8D66-B066C814EA94}"/>
              </a:ext>
            </a:extLst>
          </p:cNvPr>
          <p:cNvGrpSpPr/>
          <p:nvPr/>
        </p:nvGrpSpPr>
        <p:grpSpPr>
          <a:xfrm>
            <a:off x="277941" y="4497367"/>
            <a:ext cx="2640237" cy="520776"/>
            <a:chOff x="320133" y="4797658"/>
            <a:chExt cx="2640237" cy="520776"/>
          </a:xfrm>
        </p:grpSpPr>
        <p:sp>
          <p:nvSpPr>
            <p:cNvPr id="44" name="Rectangle: Top Corners Snipped 46">
              <a:extLst>
                <a:ext uri="{FF2B5EF4-FFF2-40B4-BE49-F238E27FC236}">
                  <a16:creationId xmlns:a16="http://schemas.microsoft.com/office/drawing/2014/main" id="{225A8E92-E21E-430D-88A6-8EE366C89ABB}"/>
                </a:ext>
              </a:extLst>
            </p:cNvPr>
            <p:cNvSpPr>
              <a:spLocks/>
            </p:cNvSpPr>
            <p:nvPr/>
          </p:nvSpPr>
          <p:spPr>
            <a:xfrm>
              <a:off x="781361" y="4900889"/>
              <a:ext cx="2179009" cy="309261"/>
            </a:xfrm>
            <a:prstGeom prst="rect">
              <a:avLst/>
            </a:prstGeom>
            <a:solidFill>
              <a:schemeClr val="accent2"/>
            </a:solid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prstClr val="white"/>
                  </a:solidFill>
                  <a:effectLst/>
                  <a:uLnTx/>
                  <a:uFillTx/>
                  <a:latin typeface="Ubuntu" panose="020B0504030602030204" pitchFamily="34" charset="0"/>
                  <a:ea typeface="+mn-ea"/>
                  <a:cs typeface="+mn-cs"/>
                </a:rPr>
                <a:t>     Impact</a:t>
              </a:r>
            </a:p>
          </p:txBody>
        </p:sp>
        <p:sp>
          <p:nvSpPr>
            <p:cNvPr id="45" name="Oval 44">
              <a:extLst>
                <a:ext uri="{FF2B5EF4-FFF2-40B4-BE49-F238E27FC236}">
                  <a16:creationId xmlns:a16="http://schemas.microsoft.com/office/drawing/2014/main" id="{AD111B1F-4F6A-4188-8769-7C3D037B1B4F}"/>
                </a:ext>
              </a:extLst>
            </p:cNvPr>
            <p:cNvSpPr/>
            <p:nvPr/>
          </p:nvSpPr>
          <p:spPr>
            <a:xfrm>
              <a:off x="320133" y="4797658"/>
              <a:ext cx="520776" cy="520776"/>
            </a:xfrm>
            <a:prstGeom prst="ellipse">
              <a:avLst/>
            </a:prstGeom>
            <a:solidFill>
              <a:schemeClr val="accent2">
                <a:lumMod val="50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Ubuntu" panose="020B0504030602030204" pitchFamily="34" charset="0"/>
                <a:ea typeface="+mn-ea"/>
                <a:cs typeface="+mn-cs"/>
              </a:endParaRPr>
            </a:p>
          </p:txBody>
        </p:sp>
        <p:grpSp>
          <p:nvGrpSpPr>
            <p:cNvPr id="46" name="Group 45">
              <a:extLst>
                <a:ext uri="{FF2B5EF4-FFF2-40B4-BE49-F238E27FC236}">
                  <a16:creationId xmlns:a16="http://schemas.microsoft.com/office/drawing/2014/main" id="{27326F21-18BA-4A4A-8DFB-C43BF6CBD01C}"/>
                </a:ext>
              </a:extLst>
            </p:cNvPr>
            <p:cNvGrpSpPr/>
            <p:nvPr/>
          </p:nvGrpSpPr>
          <p:grpSpPr>
            <a:xfrm>
              <a:off x="428545" y="4899759"/>
              <a:ext cx="315646" cy="316574"/>
              <a:chOff x="12988925" y="1597025"/>
              <a:chExt cx="6483350" cy="6502400"/>
            </a:xfrm>
            <a:solidFill>
              <a:schemeClr val="bg1"/>
            </a:solidFill>
          </p:grpSpPr>
          <p:sp>
            <p:nvSpPr>
              <p:cNvPr id="47" name="Freeform 135">
                <a:extLst>
                  <a:ext uri="{FF2B5EF4-FFF2-40B4-BE49-F238E27FC236}">
                    <a16:creationId xmlns:a16="http://schemas.microsoft.com/office/drawing/2014/main" id="{987ED275-C83A-44D5-BC48-3DCA320EB659}"/>
                  </a:ext>
                </a:extLst>
              </p:cNvPr>
              <p:cNvSpPr>
                <a:spLocks/>
              </p:cNvSpPr>
              <p:nvPr/>
            </p:nvSpPr>
            <p:spPr bwMode="auto">
              <a:xfrm>
                <a:off x="12988925" y="2178050"/>
                <a:ext cx="2371725" cy="2667000"/>
              </a:xfrm>
              <a:custGeom>
                <a:avLst/>
                <a:gdLst>
                  <a:gd name="T0" fmla="*/ 966 w 1494"/>
                  <a:gd name="T1" fmla="*/ 1680 h 1680"/>
                  <a:gd name="T2" fmla="*/ 928 w 1494"/>
                  <a:gd name="T3" fmla="*/ 1680 h 1680"/>
                  <a:gd name="T4" fmla="*/ 850 w 1494"/>
                  <a:gd name="T5" fmla="*/ 1670 h 1680"/>
                  <a:gd name="T6" fmla="*/ 776 w 1494"/>
                  <a:gd name="T7" fmla="*/ 1650 h 1680"/>
                  <a:gd name="T8" fmla="*/ 704 w 1494"/>
                  <a:gd name="T9" fmla="*/ 1620 h 1680"/>
                  <a:gd name="T10" fmla="*/ 638 w 1494"/>
                  <a:gd name="T11" fmla="*/ 1582 h 1680"/>
                  <a:gd name="T12" fmla="*/ 576 w 1494"/>
                  <a:gd name="T13" fmla="*/ 1536 h 1680"/>
                  <a:gd name="T14" fmla="*/ 522 w 1494"/>
                  <a:gd name="T15" fmla="*/ 1484 h 1680"/>
                  <a:gd name="T16" fmla="*/ 474 w 1494"/>
                  <a:gd name="T17" fmla="*/ 1422 h 1680"/>
                  <a:gd name="T18" fmla="*/ 452 w 1494"/>
                  <a:gd name="T19" fmla="*/ 1390 h 1680"/>
                  <a:gd name="T20" fmla="*/ 406 w 1494"/>
                  <a:gd name="T21" fmla="*/ 1310 h 1680"/>
                  <a:gd name="T22" fmla="*/ 332 w 1494"/>
                  <a:gd name="T23" fmla="*/ 1168 h 1680"/>
                  <a:gd name="T24" fmla="*/ 264 w 1494"/>
                  <a:gd name="T25" fmla="*/ 1026 h 1680"/>
                  <a:gd name="T26" fmla="*/ 204 w 1494"/>
                  <a:gd name="T27" fmla="*/ 882 h 1680"/>
                  <a:gd name="T28" fmla="*/ 152 w 1494"/>
                  <a:gd name="T29" fmla="*/ 734 h 1680"/>
                  <a:gd name="T30" fmla="*/ 106 w 1494"/>
                  <a:gd name="T31" fmla="*/ 588 h 1680"/>
                  <a:gd name="T32" fmla="*/ 68 w 1494"/>
                  <a:gd name="T33" fmla="*/ 438 h 1680"/>
                  <a:gd name="T34" fmla="*/ 38 w 1494"/>
                  <a:gd name="T35" fmla="*/ 288 h 1680"/>
                  <a:gd name="T36" fmla="*/ 16 w 1494"/>
                  <a:gd name="T37" fmla="*/ 136 h 1680"/>
                  <a:gd name="T38" fmla="*/ 780 w 1494"/>
                  <a:gd name="T39" fmla="*/ 0 h 1680"/>
                  <a:gd name="T40" fmla="*/ 274 w 1494"/>
                  <a:gd name="T41" fmla="*/ 240 h 1680"/>
                  <a:gd name="T42" fmla="*/ 286 w 1494"/>
                  <a:gd name="T43" fmla="*/ 302 h 1680"/>
                  <a:gd name="T44" fmla="*/ 312 w 1494"/>
                  <a:gd name="T45" fmla="*/ 424 h 1680"/>
                  <a:gd name="T46" fmla="*/ 344 w 1494"/>
                  <a:gd name="T47" fmla="*/ 546 h 1680"/>
                  <a:gd name="T48" fmla="*/ 382 w 1494"/>
                  <a:gd name="T49" fmla="*/ 666 h 1680"/>
                  <a:gd name="T50" fmla="*/ 424 w 1494"/>
                  <a:gd name="T51" fmla="*/ 784 h 1680"/>
                  <a:gd name="T52" fmla="*/ 472 w 1494"/>
                  <a:gd name="T53" fmla="*/ 902 h 1680"/>
                  <a:gd name="T54" fmla="*/ 526 w 1494"/>
                  <a:gd name="T55" fmla="*/ 1020 h 1680"/>
                  <a:gd name="T56" fmla="*/ 584 w 1494"/>
                  <a:gd name="T57" fmla="*/ 1134 h 1680"/>
                  <a:gd name="T58" fmla="*/ 616 w 1494"/>
                  <a:gd name="T59" fmla="*/ 1192 h 1680"/>
                  <a:gd name="T60" fmla="*/ 658 w 1494"/>
                  <a:gd name="T61" fmla="*/ 1266 h 1680"/>
                  <a:gd name="T62" fmla="*/ 686 w 1494"/>
                  <a:gd name="T63" fmla="*/ 1304 h 1680"/>
                  <a:gd name="T64" fmla="*/ 716 w 1494"/>
                  <a:gd name="T65" fmla="*/ 1340 h 1680"/>
                  <a:gd name="T66" fmla="*/ 752 w 1494"/>
                  <a:gd name="T67" fmla="*/ 1368 h 1680"/>
                  <a:gd name="T68" fmla="*/ 790 w 1494"/>
                  <a:gd name="T69" fmla="*/ 1394 h 1680"/>
                  <a:gd name="T70" fmla="*/ 830 w 1494"/>
                  <a:gd name="T71" fmla="*/ 1414 h 1680"/>
                  <a:gd name="T72" fmla="*/ 874 w 1494"/>
                  <a:gd name="T73" fmla="*/ 1428 h 1680"/>
                  <a:gd name="T74" fmla="*/ 920 w 1494"/>
                  <a:gd name="T75" fmla="*/ 1438 h 1680"/>
                  <a:gd name="T76" fmla="*/ 966 w 1494"/>
                  <a:gd name="T77" fmla="*/ 1440 h 1680"/>
                  <a:gd name="T78" fmla="*/ 1494 w 1494"/>
                  <a:gd name="T79" fmla="*/ 1680 h 1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94" h="1680">
                    <a:moveTo>
                      <a:pt x="1494" y="1680"/>
                    </a:moveTo>
                    <a:lnTo>
                      <a:pt x="966" y="1680"/>
                    </a:lnTo>
                    <a:lnTo>
                      <a:pt x="966" y="1680"/>
                    </a:lnTo>
                    <a:lnTo>
                      <a:pt x="928" y="1680"/>
                    </a:lnTo>
                    <a:lnTo>
                      <a:pt x="888" y="1676"/>
                    </a:lnTo>
                    <a:lnTo>
                      <a:pt x="850" y="1670"/>
                    </a:lnTo>
                    <a:lnTo>
                      <a:pt x="812" y="1660"/>
                    </a:lnTo>
                    <a:lnTo>
                      <a:pt x="776" y="1650"/>
                    </a:lnTo>
                    <a:lnTo>
                      <a:pt x="740" y="1636"/>
                    </a:lnTo>
                    <a:lnTo>
                      <a:pt x="704" y="1620"/>
                    </a:lnTo>
                    <a:lnTo>
                      <a:pt x="670" y="1602"/>
                    </a:lnTo>
                    <a:lnTo>
                      <a:pt x="638" y="1582"/>
                    </a:lnTo>
                    <a:lnTo>
                      <a:pt x="606" y="1560"/>
                    </a:lnTo>
                    <a:lnTo>
                      <a:pt x="576" y="1536"/>
                    </a:lnTo>
                    <a:lnTo>
                      <a:pt x="548" y="1510"/>
                    </a:lnTo>
                    <a:lnTo>
                      <a:pt x="522" y="1484"/>
                    </a:lnTo>
                    <a:lnTo>
                      <a:pt x="496" y="1454"/>
                    </a:lnTo>
                    <a:lnTo>
                      <a:pt x="474" y="1422"/>
                    </a:lnTo>
                    <a:lnTo>
                      <a:pt x="452" y="1390"/>
                    </a:lnTo>
                    <a:lnTo>
                      <a:pt x="452" y="1390"/>
                    </a:lnTo>
                    <a:lnTo>
                      <a:pt x="406" y="1310"/>
                    </a:lnTo>
                    <a:lnTo>
                      <a:pt x="406" y="1310"/>
                    </a:lnTo>
                    <a:lnTo>
                      <a:pt x="368" y="1238"/>
                    </a:lnTo>
                    <a:lnTo>
                      <a:pt x="332" y="1168"/>
                    </a:lnTo>
                    <a:lnTo>
                      <a:pt x="296" y="1098"/>
                    </a:lnTo>
                    <a:lnTo>
                      <a:pt x="264" y="1026"/>
                    </a:lnTo>
                    <a:lnTo>
                      <a:pt x="234" y="954"/>
                    </a:lnTo>
                    <a:lnTo>
                      <a:pt x="204" y="882"/>
                    </a:lnTo>
                    <a:lnTo>
                      <a:pt x="178" y="808"/>
                    </a:lnTo>
                    <a:lnTo>
                      <a:pt x="152" y="734"/>
                    </a:lnTo>
                    <a:lnTo>
                      <a:pt x="128" y="662"/>
                    </a:lnTo>
                    <a:lnTo>
                      <a:pt x="106" y="588"/>
                    </a:lnTo>
                    <a:lnTo>
                      <a:pt x="86" y="512"/>
                    </a:lnTo>
                    <a:lnTo>
                      <a:pt x="68" y="438"/>
                    </a:lnTo>
                    <a:lnTo>
                      <a:pt x="52" y="362"/>
                    </a:lnTo>
                    <a:lnTo>
                      <a:pt x="38" y="288"/>
                    </a:lnTo>
                    <a:lnTo>
                      <a:pt x="26" y="212"/>
                    </a:lnTo>
                    <a:lnTo>
                      <a:pt x="16" y="136"/>
                    </a:lnTo>
                    <a:lnTo>
                      <a:pt x="0" y="0"/>
                    </a:lnTo>
                    <a:lnTo>
                      <a:pt x="780" y="0"/>
                    </a:lnTo>
                    <a:lnTo>
                      <a:pt x="780" y="240"/>
                    </a:lnTo>
                    <a:lnTo>
                      <a:pt x="274" y="240"/>
                    </a:lnTo>
                    <a:lnTo>
                      <a:pt x="274" y="240"/>
                    </a:lnTo>
                    <a:lnTo>
                      <a:pt x="286" y="302"/>
                    </a:lnTo>
                    <a:lnTo>
                      <a:pt x="298" y="364"/>
                    </a:lnTo>
                    <a:lnTo>
                      <a:pt x="312" y="424"/>
                    </a:lnTo>
                    <a:lnTo>
                      <a:pt x="328" y="484"/>
                    </a:lnTo>
                    <a:lnTo>
                      <a:pt x="344" y="546"/>
                    </a:lnTo>
                    <a:lnTo>
                      <a:pt x="362" y="606"/>
                    </a:lnTo>
                    <a:lnTo>
                      <a:pt x="382" y="666"/>
                    </a:lnTo>
                    <a:lnTo>
                      <a:pt x="402" y="726"/>
                    </a:lnTo>
                    <a:lnTo>
                      <a:pt x="424" y="784"/>
                    </a:lnTo>
                    <a:lnTo>
                      <a:pt x="448" y="844"/>
                    </a:lnTo>
                    <a:lnTo>
                      <a:pt x="472" y="902"/>
                    </a:lnTo>
                    <a:lnTo>
                      <a:pt x="498" y="962"/>
                    </a:lnTo>
                    <a:lnTo>
                      <a:pt x="526" y="1020"/>
                    </a:lnTo>
                    <a:lnTo>
                      <a:pt x="554" y="1078"/>
                    </a:lnTo>
                    <a:lnTo>
                      <a:pt x="584" y="1134"/>
                    </a:lnTo>
                    <a:lnTo>
                      <a:pt x="616" y="1192"/>
                    </a:lnTo>
                    <a:lnTo>
                      <a:pt x="616" y="1192"/>
                    </a:lnTo>
                    <a:lnTo>
                      <a:pt x="658" y="1266"/>
                    </a:lnTo>
                    <a:lnTo>
                      <a:pt x="658" y="1266"/>
                    </a:lnTo>
                    <a:lnTo>
                      <a:pt x="672" y="1286"/>
                    </a:lnTo>
                    <a:lnTo>
                      <a:pt x="686" y="1304"/>
                    </a:lnTo>
                    <a:lnTo>
                      <a:pt x="700" y="1322"/>
                    </a:lnTo>
                    <a:lnTo>
                      <a:pt x="716" y="1340"/>
                    </a:lnTo>
                    <a:lnTo>
                      <a:pt x="734" y="1354"/>
                    </a:lnTo>
                    <a:lnTo>
                      <a:pt x="752" y="1368"/>
                    </a:lnTo>
                    <a:lnTo>
                      <a:pt x="770" y="1382"/>
                    </a:lnTo>
                    <a:lnTo>
                      <a:pt x="790" y="1394"/>
                    </a:lnTo>
                    <a:lnTo>
                      <a:pt x="810" y="1404"/>
                    </a:lnTo>
                    <a:lnTo>
                      <a:pt x="830" y="1414"/>
                    </a:lnTo>
                    <a:lnTo>
                      <a:pt x="852" y="1422"/>
                    </a:lnTo>
                    <a:lnTo>
                      <a:pt x="874" y="1428"/>
                    </a:lnTo>
                    <a:lnTo>
                      <a:pt x="898" y="1434"/>
                    </a:lnTo>
                    <a:lnTo>
                      <a:pt x="920" y="1438"/>
                    </a:lnTo>
                    <a:lnTo>
                      <a:pt x="944" y="1440"/>
                    </a:lnTo>
                    <a:lnTo>
                      <a:pt x="966" y="1440"/>
                    </a:lnTo>
                    <a:lnTo>
                      <a:pt x="1494" y="1440"/>
                    </a:lnTo>
                    <a:lnTo>
                      <a:pt x="1494" y="1680"/>
                    </a:lnTo>
                    <a:lnTo>
                      <a:pt x="1494" y="168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Ubuntu" panose="020B0504030602030204" pitchFamily="34" charset="0"/>
                  <a:ea typeface="+mn-ea"/>
                  <a:cs typeface="+mn-cs"/>
                </a:endParaRPr>
              </a:p>
            </p:txBody>
          </p:sp>
          <p:sp>
            <p:nvSpPr>
              <p:cNvPr id="48" name="Freeform 136">
                <a:extLst>
                  <a:ext uri="{FF2B5EF4-FFF2-40B4-BE49-F238E27FC236}">
                    <a16:creationId xmlns:a16="http://schemas.microsoft.com/office/drawing/2014/main" id="{BF087760-B652-4A4B-8446-75CF57BC1B38}"/>
                  </a:ext>
                </a:extLst>
              </p:cNvPr>
              <p:cNvSpPr>
                <a:spLocks/>
              </p:cNvSpPr>
              <p:nvPr/>
            </p:nvSpPr>
            <p:spPr bwMode="auto">
              <a:xfrm>
                <a:off x="13931900" y="1597025"/>
                <a:ext cx="4597400" cy="4759325"/>
              </a:xfrm>
              <a:custGeom>
                <a:avLst/>
                <a:gdLst>
                  <a:gd name="T0" fmla="*/ 2896 w 2896"/>
                  <a:gd name="T1" fmla="*/ 142 h 2998"/>
                  <a:gd name="T2" fmla="*/ 2716 w 2896"/>
                  <a:gd name="T3" fmla="*/ 110 h 2998"/>
                  <a:gd name="T4" fmla="*/ 2356 w 2896"/>
                  <a:gd name="T5" fmla="*/ 56 h 2998"/>
                  <a:gd name="T6" fmla="*/ 1994 w 2896"/>
                  <a:gd name="T7" fmla="*/ 20 h 2998"/>
                  <a:gd name="T8" fmla="*/ 1630 w 2896"/>
                  <a:gd name="T9" fmla="*/ 2 h 2998"/>
                  <a:gd name="T10" fmla="*/ 1266 w 2896"/>
                  <a:gd name="T11" fmla="*/ 2 h 2998"/>
                  <a:gd name="T12" fmla="*/ 902 w 2896"/>
                  <a:gd name="T13" fmla="*/ 20 h 2998"/>
                  <a:gd name="T14" fmla="*/ 540 w 2896"/>
                  <a:gd name="T15" fmla="*/ 56 h 2998"/>
                  <a:gd name="T16" fmla="*/ 180 w 2896"/>
                  <a:gd name="T17" fmla="*/ 110 h 2998"/>
                  <a:gd name="T18" fmla="*/ 0 w 2896"/>
                  <a:gd name="T19" fmla="*/ 142 h 2998"/>
                  <a:gd name="T20" fmla="*/ 2 w 2896"/>
                  <a:gd name="T21" fmla="*/ 222 h 2998"/>
                  <a:gd name="T22" fmla="*/ 12 w 2896"/>
                  <a:gd name="T23" fmla="*/ 382 h 2998"/>
                  <a:gd name="T24" fmla="*/ 36 w 2896"/>
                  <a:gd name="T25" fmla="*/ 542 h 2998"/>
                  <a:gd name="T26" fmla="*/ 68 w 2896"/>
                  <a:gd name="T27" fmla="*/ 702 h 2998"/>
                  <a:gd name="T28" fmla="*/ 110 w 2896"/>
                  <a:gd name="T29" fmla="*/ 858 h 2998"/>
                  <a:gd name="T30" fmla="*/ 164 w 2896"/>
                  <a:gd name="T31" fmla="*/ 1012 h 2998"/>
                  <a:gd name="T32" fmla="*/ 226 w 2896"/>
                  <a:gd name="T33" fmla="*/ 1164 h 2998"/>
                  <a:gd name="T34" fmla="*/ 296 w 2896"/>
                  <a:gd name="T35" fmla="*/ 1310 h 2998"/>
                  <a:gd name="T36" fmla="*/ 376 w 2896"/>
                  <a:gd name="T37" fmla="*/ 1452 h 2998"/>
                  <a:gd name="T38" fmla="*/ 464 w 2896"/>
                  <a:gd name="T39" fmla="*/ 1590 h 2998"/>
                  <a:gd name="T40" fmla="*/ 560 w 2896"/>
                  <a:gd name="T41" fmla="*/ 1720 h 2998"/>
                  <a:gd name="T42" fmla="*/ 664 w 2896"/>
                  <a:gd name="T43" fmla="*/ 1844 h 2998"/>
                  <a:gd name="T44" fmla="*/ 774 w 2896"/>
                  <a:gd name="T45" fmla="*/ 1960 h 2998"/>
                  <a:gd name="T46" fmla="*/ 890 w 2896"/>
                  <a:gd name="T47" fmla="*/ 2070 h 2998"/>
                  <a:gd name="T48" fmla="*/ 1012 w 2896"/>
                  <a:gd name="T49" fmla="*/ 2168 h 2998"/>
                  <a:gd name="T50" fmla="*/ 1142 w 2896"/>
                  <a:gd name="T51" fmla="*/ 2258 h 2998"/>
                  <a:gd name="T52" fmla="*/ 1208 w 2896"/>
                  <a:gd name="T53" fmla="*/ 2998 h 2998"/>
                  <a:gd name="T54" fmla="*/ 1688 w 2896"/>
                  <a:gd name="T55" fmla="*/ 2298 h 2998"/>
                  <a:gd name="T56" fmla="*/ 1754 w 2896"/>
                  <a:gd name="T57" fmla="*/ 2258 h 2998"/>
                  <a:gd name="T58" fmla="*/ 1884 w 2896"/>
                  <a:gd name="T59" fmla="*/ 2168 h 2998"/>
                  <a:gd name="T60" fmla="*/ 2006 w 2896"/>
                  <a:gd name="T61" fmla="*/ 2070 h 2998"/>
                  <a:gd name="T62" fmla="*/ 2122 w 2896"/>
                  <a:gd name="T63" fmla="*/ 1960 h 2998"/>
                  <a:gd name="T64" fmla="*/ 2232 w 2896"/>
                  <a:gd name="T65" fmla="*/ 1844 h 2998"/>
                  <a:gd name="T66" fmla="*/ 2336 w 2896"/>
                  <a:gd name="T67" fmla="*/ 1720 h 2998"/>
                  <a:gd name="T68" fmla="*/ 2432 w 2896"/>
                  <a:gd name="T69" fmla="*/ 1590 h 2998"/>
                  <a:gd name="T70" fmla="*/ 2520 w 2896"/>
                  <a:gd name="T71" fmla="*/ 1452 h 2998"/>
                  <a:gd name="T72" fmla="*/ 2600 w 2896"/>
                  <a:gd name="T73" fmla="*/ 1310 h 2998"/>
                  <a:gd name="T74" fmla="*/ 2670 w 2896"/>
                  <a:gd name="T75" fmla="*/ 1164 h 2998"/>
                  <a:gd name="T76" fmla="*/ 2732 w 2896"/>
                  <a:gd name="T77" fmla="*/ 1012 h 2998"/>
                  <a:gd name="T78" fmla="*/ 2786 w 2896"/>
                  <a:gd name="T79" fmla="*/ 858 h 2998"/>
                  <a:gd name="T80" fmla="*/ 2828 w 2896"/>
                  <a:gd name="T81" fmla="*/ 702 h 2998"/>
                  <a:gd name="T82" fmla="*/ 2860 w 2896"/>
                  <a:gd name="T83" fmla="*/ 542 h 2998"/>
                  <a:gd name="T84" fmla="*/ 2884 w 2896"/>
                  <a:gd name="T85" fmla="*/ 382 h 2998"/>
                  <a:gd name="T86" fmla="*/ 2894 w 2896"/>
                  <a:gd name="T87" fmla="*/ 222 h 2998"/>
                  <a:gd name="T88" fmla="*/ 2896 w 2896"/>
                  <a:gd name="T89" fmla="*/ 142 h 29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896" h="2998">
                    <a:moveTo>
                      <a:pt x="2896" y="142"/>
                    </a:moveTo>
                    <a:lnTo>
                      <a:pt x="2896" y="142"/>
                    </a:lnTo>
                    <a:lnTo>
                      <a:pt x="2896" y="142"/>
                    </a:lnTo>
                    <a:lnTo>
                      <a:pt x="2716" y="110"/>
                    </a:lnTo>
                    <a:lnTo>
                      <a:pt x="2536" y="80"/>
                    </a:lnTo>
                    <a:lnTo>
                      <a:pt x="2356" y="56"/>
                    </a:lnTo>
                    <a:lnTo>
                      <a:pt x="2174" y="36"/>
                    </a:lnTo>
                    <a:lnTo>
                      <a:pt x="1994" y="20"/>
                    </a:lnTo>
                    <a:lnTo>
                      <a:pt x="1812" y="8"/>
                    </a:lnTo>
                    <a:lnTo>
                      <a:pt x="1630" y="2"/>
                    </a:lnTo>
                    <a:lnTo>
                      <a:pt x="1448" y="0"/>
                    </a:lnTo>
                    <a:lnTo>
                      <a:pt x="1266" y="2"/>
                    </a:lnTo>
                    <a:lnTo>
                      <a:pt x="1084" y="8"/>
                    </a:lnTo>
                    <a:lnTo>
                      <a:pt x="902" y="20"/>
                    </a:lnTo>
                    <a:lnTo>
                      <a:pt x="722" y="36"/>
                    </a:lnTo>
                    <a:lnTo>
                      <a:pt x="540" y="56"/>
                    </a:lnTo>
                    <a:lnTo>
                      <a:pt x="360" y="80"/>
                    </a:lnTo>
                    <a:lnTo>
                      <a:pt x="180" y="110"/>
                    </a:lnTo>
                    <a:lnTo>
                      <a:pt x="0" y="142"/>
                    </a:lnTo>
                    <a:lnTo>
                      <a:pt x="0" y="142"/>
                    </a:lnTo>
                    <a:lnTo>
                      <a:pt x="0" y="142"/>
                    </a:lnTo>
                    <a:lnTo>
                      <a:pt x="2" y="222"/>
                    </a:lnTo>
                    <a:lnTo>
                      <a:pt x="6" y="302"/>
                    </a:lnTo>
                    <a:lnTo>
                      <a:pt x="12" y="382"/>
                    </a:lnTo>
                    <a:lnTo>
                      <a:pt x="22" y="462"/>
                    </a:lnTo>
                    <a:lnTo>
                      <a:pt x="36" y="542"/>
                    </a:lnTo>
                    <a:lnTo>
                      <a:pt x="50" y="622"/>
                    </a:lnTo>
                    <a:lnTo>
                      <a:pt x="68" y="702"/>
                    </a:lnTo>
                    <a:lnTo>
                      <a:pt x="88" y="780"/>
                    </a:lnTo>
                    <a:lnTo>
                      <a:pt x="110" y="858"/>
                    </a:lnTo>
                    <a:lnTo>
                      <a:pt x="136" y="936"/>
                    </a:lnTo>
                    <a:lnTo>
                      <a:pt x="164" y="1012"/>
                    </a:lnTo>
                    <a:lnTo>
                      <a:pt x="194" y="1088"/>
                    </a:lnTo>
                    <a:lnTo>
                      <a:pt x="226" y="1164"/>
                    </a:lnTo>
                    <a:lnTo>
                      <a:pt x="260" y="1238"/>
                    </a:lnTo>
                    <a:lnTo>
                      <a:pt x="296" y="1310"/>
                    </a:lnTo>
                    <a:lnTo>
                      <a:pt x="336" y="1382"/>
                    </a:lnTo>
                    <a:lnTo>
                      <a:pt x="376" y="1452"/>
                    </a:lnTo>
                    <a:lnTo>
                      <a:pt x="420" y="1522"/>
                    </a:lnTo>
                    <a:lnTo>
                      <a:pt x="464" y="1590"/>
                    </a:lnTo>
                    <a:lnTo>
                      <a:pt x="512" y="1656"/>
                    </a:lnTo>
                    <a:lnTo>
                      <a:pt x="560" y="1720"/>
                    </a:lnTo>
                    <a:lnTo>
                      <a:pt x="610" y="1784"/>
                    </a:lnTo>
                    <a:lnTo>
                      <a:pt x="664" y="1844"/>
                    </a:lnTo>
                    <a:lnTo>
                      <a:pt x="718" y="1904"/>
                    </a:lnTo>
                    <a:lnTo>
                      <a:pt x="774" y="1960"/>
                    </a:lnTo>
                    <a:lnTo>
                      <a:pt x="830" y="2016"/>
                    </a:lnTo>
                    <a:lnTo>
                      <a:pt x="890" y="2070"/>
                    </a:lnTo>
                    <a:lnTo>
                      <a:pt x="950" y="2120"/>
                    </a:lnTo>
                    <a:lnTo>
                      <a:pt x="1012" y="2168"/>
                    </a:lnTo>
                    <a:lnTo>
                      <a:pt x="1076" y="2214"/>
                    </a:lnTo>
                    <a:lnTo>
                      <a:pt x="1142" y="2258"/>
                    </a:lnTo>
                    <a:lnTo>
                      <a:pt x="1208" y="2298"/>
                    </a:lnTo>
                    <a:lnTo>
                      <a:pt x="1208" y="2998"/>
                    </a:lnTo>
                    <a:lnTo>
                      <a:pt x="1688" y="2998"/>
                    </a:lnTo>
                    <a:lnTo>
                      <a:pt x="1688" y="2298"/>
                    </a:lnTo>
                    <a:lnTo>
                      <a:pt x="1688" y="2298"/>
                    </a:lnTo>
                    <a:lnTo>
                      <a:pt x="1754" y="2258"/>
                    </a:lnTo>
                    <a:lnTo>
                      <a:pt x="1820" y="2214"/>
                    </a:lnTo>
                    <a:lnTo>
                      <a:pt x="1884" y="2168"/>
                    </a:lnTo>
                    <a:lnTo>
                      <a:pt x="1946" y="2120"/>
                    </a:lnTo>
                    <a:lnTo>
                      <a:pt x="2006" y="2070"/>
                    </a:lnTo>
                    <a:lnTo>
                      <a:pt x="2066" y="2016"/>
                    </a:lnTo>
                    <a:lnTo>
                      <a:pt x="2122" y="1960"/>
                    </a:lnTo>
                    <a:lnTo>
                      <a:pt x="2178" y="1904"/>
                    </a:lnTo>
                    <a:lnTo>
                      <a:pt x="2232" y="1844"/>
                    </a:lnTo>
                    <a:lnTo>
                      <a:pt x="2286" y="1784"/>
                    </a:lnTo>
                    <a:lnTo>
                      <a:pt x="2336" y="1720"/>
                    </a:lnTo>
                    <a:lnTo>
                      <a:pt x="2384" y="1656"/>
                    </a:lnTo>
                    <a:lnTo>
                      <a:pt x="2432" y="1590"/>
                    </a:lnTo>
                    <a:lnTo>
                      <a:pt x="2476" y="1522"/>
                    </a:lnTo>
                    <a:lnTo>
                      <a:pt x="2520" y="1452"/>
                    </a:lnTo>
                    <a:lnTo>
                      <a:pt x="2560" y="1382"/>
                    </a:lnTo>
                    <a:lnTo>
                      <a:pt x="2600" y="1310"/>
                    </a:lnTo>
                    <a:lnTo>
                      <a:pt x="2636" y="1238"/>
                    </a:lnTo>
                    <a:lnTo>
                      <a:pt x="2670" y="1164"/>
                    </a:lnTo>
                    <a:lnTo>
                      <a:pt x="2702" y="1088"/>
                    </a:lnTo>
                    <a:lnTo>
                      <a:pt x="2732" y="1012"/>
                    </a:lnTo>
                    <a:lnTo>
                      <a:pt x="2760" y="936"/>
                    </a:lnTo>
                    <a:lnTo>
                      <a:pt x="2786" y="858"/>
                    </a:lnTo>
                    <a:lnTo>
                      <a:pt x="2808" y="780"/>
                    </a:lnTo>
                    <a:lnTo>
                      <a:pt x="2828" y="702"/>
                    </a:lnTo>
                    <a:lnTo>
                      <a:pt x="2846" y="622"/>
                    </a:lnTo>
                    <a:lnTo>
                      <a:pt x="2860" y="542"/>
                    </a:lnTo>
                    <a:lnTo>
                      <a:pt x="2874" y="462"/>
                    </a:lnTo>
                    <a:lnTo>
                      <a:pt x="2884" y="382"/>
                    </a:lnTo>
                    <a:lnTo>
                      <a:pt x="2890" y="302"/>
                    </a:lnTo>
                    <a:lnTo>
                      <a:pt x="2894" y="222"/>
                    </a:lnTo>
                    <a:lnTo>
                      <a:pt x="2896" y="142"/>
                    </a:lnTo>
                    <a:lnTo>
                      <a:pt x="2896" y="142"/>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Ubuntu" panose="020B0504030602030204" pitchFamily="34" charset="0"/>
                  <a:ea typeface="+mn-ea"/>
                  <a:cs typeface="+mn-cs"/>
                </a:endParaRPr>
              </a:p>
            </p:txBody>
          </p:sp>
          <p:sp>
            <p:nvSpPr>
              <p:cNvPr id="49" name="Freeform 137">
                <a:extLst>
                  <a:ext uri="{FF2B5EF4-FFF2-40B4-BE49-F238E27FC236}">
                    <a16:creationId xmlns:a16="http://schemas.microsoft.com/office/drawing/2014/main" id="{5D52F8BF-FB70-48C3-803D-AC0493DF1B13}"/>
                  </a:ext>
                </a:extLst>
              </p:cNvPr>
              <p:cNvSpPr>
                <a:spLocks/>
              </p:cNvSpPr>
              <p:nvPr/>
            </p:nvSpPr>
            <p:spPr bwMode="auto">
              <a:xfrm>
                <a:off x="17097375" y="2178050"/>
                <a:ext cx="2374900" cy="2667000"/>
              </a:xfrm>
              <a:custGeom>
                <a:avLst/>
                <a:gdLst>
                  <a:gd name="T0" fmla="*/ 0 w 1496"/>
                  <a:gd name="T1" fmla="*/ 1680 h 1680"/>
                  <a:gd name="T2" fmla="*/ 530 w 1496"/>
                  <a:gd name="T3" fmla="*/ 1440 h 1680"/>
                  <a:gd name="T4" fmla="*/ 552 w 1496"/>
                  <a:gd name="T5" fmla="*/ 1440 h 1680"/>
                  <a:gd name="T6" fmla="*/ 598 w 1496"/>
                  <a:gd name="T7" fmla="*/ 1434 h 1680"/>
                  <a:gd name="T8" fmla="*/ 644 w 1496"/>
                  <a:gd name="T9" fmla="*/ 1422 h 1680"/>
                  <a:gd name="T10" fmla="*/ 686 w 1496"/>
                  <a:gd name="T11" fmla="*/ 1404 h 1680"/>
                  <a:gd name="T12" fmla="*/ 726 w 1496"/>
                  <a:gd name="T13" fmla="*/ 1382 h 1680"/>
                  <a:gd name="T14" fmla="*/ 762 w 1496"/>
                  <a:gd name="T15" fmla="*/ 1354 h 1680"/>
                  <a:gd name="T16" fmla="*/ 796 w 1496"/>
                  <a:gd name="T17" fmla="*/ 1322 h 1680"/>
                  <a:gd name="T18" fmla="*/ 824 w 1496"/>
                  <a:gd name="T19" fmla="*/ 1286 h 1680"/>
                  <a:gd name="T20" fmla="*/ 838 w 1496"/>
                  <a:gd name="T21" fmla="*/ 1266 h 1680"/>
                  <a:gd name="T22" fmla="*/ 880 w 1496"/>
                  <a:gd name="T23" fmla="*/ 1192 h 1680"/>
                  <a:gd name="T24" fmla="*/ 942 w 1496"/>
                  <a:gd name="T25" fmla="*/ 1078 h 1680"/>
                  <a:gd name="T26" fmla="*/ 998 w 1496"/>
                  <a:gd name="T27" fmla="*/ 962 h 1680"/>
                  <a:gd name="T28" fmla="*/ 1048 w 1496"/>
                  <a:gd name="T29" fmla="*/ 844 h 1680"/>
                  <a:gd name="T30" fmla="*/ 1094 w 1496"/>
                  <a:gd name="T31" fmla="*/ 726 h 1680"/>
                  <a:gd name="T32" fmla="*/ 1134 w 1496"/>
                  <a:gd name="T33" fmla="*/ 606 h 1680"/>
                  <a:gd name="T34" fmla="*/ 1168 w 1496"/>
                  <a:gd name="T35" fmla="*/ 484 h 1680"/>
                  <a:gd name="T36" fmla="*/ 1198 w 1496"/>
                  <a:gd name="T37" fmla="*/ 364 h 1680"/>
                  <a:gd name="T38" fmla="*/ 1222 w 1496"/>
                  <a:gd name="T39" fmla="*/ 240 h 1680"/>
                  <a:gd name="T40" fmla="*/ 716 w 1496"/>
                  <a:gd name="T41" fmla="*/ 0 h 1680"/>
                  <a:gd name="T42" fmla="*/ 1480 w 1496"/>
                  <a:gd name="T43" fmla="*/ 136 h 1680"/>
                  <a:gd name="T44" fmla="*/ 1470 w 1496"/>
                  <a:gd name="T45" fmla="*/ 212 h 1680"/>
                  <a:gd name="T46" fmla="*/ 1444 w 1496"/>
                  <a:gd name="T47" fmla="*/ 362 h 1680"/>
                  <a:gd name="T48" fmla="*/ 1410 w 1496"/>
                  <a:gd name="T49" fmla="*/ 512 h 1680"/>
                  <a:gd name="T50" fmla="*/ 1368 w 1496"/>
                  <a:gd name="T51" fmla="*/ 662 h 1680"/>
                  <a:gd name="T52" fmla="*/ 1318 w 1496"/>
                  <a:gd name="T53" fmla="*/ 808 h 1680"/>
                  <a:gd name="T54" fmla="*/ 1262 w 1496"/>
                  <a:gd name="T55" fmla="*/ 954 h 1680"/>
                  <a:gd name="T56" fmla="*/ 1200 w 1496"/>
                  <a:gd name="T57" fmla="*/ 1098 h 1680"/>
                  <a:gd name="T58" fmla="*/ 1128 w 1496"/>
                  <a:gd name="T59" fmla="*/ 1238 h 1680"/>
                  <a:gd name="T60" fmla="*/ 1090 w 1496"/>
                  <a:gd name="T61" fmla="*/ 1310 h 1680"/>
                  <a:gd name="T62" fmla="*/ 1044 w 1496"/>
                  <a:gd name="T63" fmla="*/ 1390 h 1680"/>
                  <a:gd name="T64" fmla="*/ 1000 w 1496"/>
                  <a:gd name="T65" fmla="*/ 1454 h 1680"/>
                  <a:gd name="T66" fmla="*/ 948 w 1496"/>
                  <a:gd name="T67" fmla="*/ 1510 h 1680"/>
                  <a:gd name="T68" fmla="*/ 890 w 1496"/>
                  <a:gd name="T69" fmla="*/ 1560 h 1680"/>
                  <a:gd name="T70" fmla="*/ 826 w 1496"/>
                  <a:gd name="T71" fmla="*/ 1602 h 1680"/>
                  <a:gd name="T72" fmla="*/ 756 w 1496"/>
                  <a:gd name="T73" fmla="*/ 1636 h 1680"/>
                  <a:gd name="T74" fmla="*/ 684 w 1496"/>
                  <a:gd name="T75" fmla="*/ 1660 h 1680"/>
                  <a:gd name="T76" fmla="*/ 608 w 1496"/>
                  <a:gd name="T77" fmla="*/ 1676 h 1680"/>
                  <a:gd name="T78" fmla="*/ 530 w 1496"/>
                  <a:gd name="T79" fmla="*/ 1680 h 1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96" h="1680">
                    <a:moveTo>
                      <a:pt x="530" y="1680"/>
                    </a:moveTo>
                    <a:lnTo>
                      <a:pt x="0" y="1680"/>
                    </a:lnTo>
                    <a:lnTo>
                      <a:pt x="0" y="1440"/>
                    </a:lnTo>
                    <a:lnTo>
                      <a:pt x="530" y="1440"/>
                    </a:lnTo>
                    <a:lnTo>
                      <a:pt x="530" y="1440"/>
                    </a:lnTo>
                    <a:lnTo>
                      <a:pt x="552" y="1440"/>
                    </a:lnTo>
                    <a:lnTo>
                      <a:pt x="576" y="1438"/>
                    </a:lnTo>
                    <a:lnTo>
                      <a:pt x="598" y="1434"/>
                    </a:lnTo>
                    <a:lnTo>
                      <a:pt x="622" y="1428"/>
                    </a:lnTo>
                    <a:lnTo>
                      <a:pt x="644" y="1422"/>
                    </a:lnTo>
                    <a:lnTo>
                      <a:pt x="666" y="1414"/>
                    </a:lnTo>
                    <a:lnTo>
                      <a:pt x="686" y="1404"/>
                    </a:lnTo>
                    <a:lnTo>
                      <a:pt x="706" y="1394"/>
                    </a:lnTo>
                    <a:lnTo>
                      <a:pt x="726" y="1382"/>
                    </a:lnTo>
                    <a:lnTo>
                      <a:pt x="744" y="1368"/>
                    </a:lnTo>
                    <a:lnTo>
                      <a:pt x="762" y="1354"/>
                    </a:lnTo>
                    <a:lnTo>
                      <a:pt x="780" y="1340"/>
                    </a:lnTo>
                    <a:lnTo>
                      <a:pt x="796" y="1322"/>
                    </a:lnTo>
                    <a:lnTo>
                      <a:pt x="810" y="1304"/>
                    </a:lnTo>
                    <a:lnTo>
                      <a:pt x="824" y="1286"/>
                    </a:lnTo>
                    <a:lnTo>
                      <a:pt x="838" y="1266"/>
                    </a:lnTo>
                    <a:lnTo>
                      <a:pt x="838" y="1266"/>
                    </a:lnTo>
                    <a:lnTo>
                      <a:pt x="880" y="1192"/>
                    </a:lnTo>
                    <a:lnTo>
                      <a:pt x="880" y="1192"/>
                    </a:lnTo>
                    <a:lnTo>
                      <a:pt x="912" y="1134"/>
                    </a:lnTo>
                    <a:lnTo>
                      <a:pt x="942" y="1078"/>
                    </a:lnTo>
                    <a:lnTo>
                      <a:pt x="970" y="1020"/>
                    </a:lnTo>
                    <a:lnTo>
                      <a:pt x="998" y="962"/>
                    </a:lnTo>
                    <a:lnTo>
                      <a:pt x="1024" y="902"/>
                    </a:lnTo>
                    <a:lnTo>
                      <a:pt x="1048" y="844"/>
                    </a:lnTo>
                    <a:lnTo>
                      <a:pt x="1072" y="784"/>
                    </a:lnTo>
                    <a:lnTo>
                      <a:pt x="1094" y="726"/>
                    </a:lnTo>
                    <a:lnTo>
                      <a:pt x="1114" y="666"/>
                    </a:lnTo>
                    <a:lnTo>
                      <a:pt x="1134" y="606"/>
                    </a:lnTo>
                    <a:lnTo>
                      <a:pt x="1152" y="546"/>
                    </a:lnTo>
                    <a:lnTo>
                      <a:pt x="1168" y="484"/>
                    </a:lnTo>
                    <a:lnTo>
                      <a:pt x="1184" y="424"/>
                    </a:lnTo>
                    <a:lnTo>
                      <a:pt x="1198" y="364"/>
                    </a:lnTo>
                    <a:lnTo>
                      <a:pt x="1210" y="302"/>
                    </a:lnTo>
                    <a:lnTo>
                      <a:pt x="1222" y="240"/>
                    </a:lnTo>
                    <a:lnTo>
                      <a:pt x="716" y="240"/>
                    </a:lnTo>
                    <a:lnTo>
                      <a:pt x="716" y="0"/>
                    </a:lnTo>
                    <a:lnTo>
                      <a:pt x="1496" y="0"/>
                    </a:lnTo>
                    <a:lnTo>
                      <a:pt x="1480" y="136"/>
                    </a:lnTo>
                    <a:lnTo>
                      <a:pt x="1480" y="136"/>
                    </a:lnTo>
                    <a:lnTo>
                      <a:pt x="1470" y="212"/>
                    </a:lnTo>
                    <a:lnTo>
                      <a:pt x="1458" y="288"/>
                    </a:lnTo>
                    <a:lnTo>
                      <a:pt x="1444" y="362"/>
                    </a:lnTo>
                    <a:lnTo>
                      <a:pt x="1428" y="438"/>
                    </a:lnTo>
                    <a:lnTo>
                      <a:pt x="1410" y="512"/>
                    </a:lnTo>
                    <a:lnTo>
                      <a:pt x="1390" y="588"/>
                    </a:lnTo>
                    <a:lnTo>
                      <a:pt x="1368" y="662"/>
                    </a:lnTo>
                    <a:lnTo>
                      <a:pt x="1344" y="734"/>
                    </a:lnTo>
                    <a:lnTo>
                      <a:pt x="1318" y="808"/>
                    </a:lnTo>
                    <a:lnTo>
                      <a:pt x="1292" y="882"/>
                    </a:lnTo>
                    <a:lnTo>
                      <a:pt x="1262" y="954"/>
                    </a:lnTo>
                    <a:lnTo>
                      <a:pt x="1232" y="1026"/>
                    </a:lnTo>
                    <a:lnTo>
                      <a:pt x="1200" y="1098"/>
                    </a:lnTo>
                    <a:lnTo>
                      <a:pt x="1164" y="1168"/>
                    </a:lnTo>
                    <a:lnTo>
                      <a:pt x="1128" y="1238"/>
                    </a:lnTo>
                    <a:lnTo>
                      <a:pt x="1090" y="1310"/>
                    </a:lnTo>
                    <a:lnTo>
                      <a:pt x="1090" y="1310"/>
                    </a:lnTo>
                    <a:lnTo>
                      <a:pt x="1044" y="1390"/>
                    </a:lnTo>
                    <a:lnTo>
                      <a:pt x="1044" y="1390"/>
                    </a:lnTo>
                    <a:lnTo>
                      <a:pt x="1022" y="1422"/>
                    </a:lnTo>
                    <a:lnTo>
                      <a:pt x="1000" y="1454"/>
                    </a:lnTo>
                    <a:lnTo>
                      <a:pt x="974" y="1484"/>
                    </a:lnTo>
                    <a:lnTo>
                      <a:pt x="948" y="1510"/>
                    </a:lnTo>
                    <a:lnTo>
                      <a:pt x="920" y="1536"/>
                    </a:lnTo>
                    <a:lnTo>
                      <a:pt x="890" y="1560"/>
                    </a:lnTo>
                    <a:lnTo>
                      <a:pt x="858" y="1582"/>
                    </a:lnTo>
                    <a:lnTo>
                      <a:pt x="826" y="1602"/>
                    </a:lnTo>
                    <a:lnTo>
                      <a:pt x="792" y="1620"/>
                    </a:lnTo>
                    <a:lnTo>
                      <a:pt x="756" y="1636"/>
                    </a:lnTo>
                    <a:lnTo>
                      <a:pt x="720" y="1650"/>
                    </a:lnTo>
                    <a:lnTo>
                      <a:pt x="684" y="1660"/>
                    </a:lnTo>
                    <a:lnTo>
                      <a:pt x="646" y="1670"/>
                    </a:lnTo>
                    <a:lnTo>
                      <a:pt x="608" y="1676"/>
                    </a:lnTo>
                    <a:lnTo>
                      <a:pt x="568" y="1680"/>
                    </a:lnTo>
                    <a:lnTo>
                      <a:pt x="530" y="1680"/>
                    </a:lnTo>
                    <a:lnTo>
                      <a:pt x="530" y="168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Ubuntu" panose="020B0504030602030204" pitchFamily="34" charset="0"/>
                  <a:ea typeface="+mn-ea"/>
                  <a:cs typeface="+mn-cs"/>
                </a:endParaRPr>
              </a:p>
            </p:txBody>
          </p:sp>
          <p:sp>
            <p:nvSpPr>
              <p:cNvPr id="50" name="Freeform 138">
                <a:extLst>
                  <a:ext uri="{FF2B5EF4-FFF2-40B4-BE49-F238E27FC236}">
                    <a16:creationId xmlns:a16="http://schemas.microsoft.com/office/drawing/2014/main" id="{2043EC1E-419A-45B8-A461-C5E7F2279510}"/>
                  </a:ext>
                </a:extLst>
              </p:cNvPr>
              <p:cNvSpPr>
                <a:spLocks/>
              </p:cNvSpPr>
              <p:nvPr/>
            </p:nvSpPr>
            <p:spPr bwMode="auto">
              <a:xfrm>
                <a:off x="16230600" y="1597025"/>
                <a:ext cx="2298700" cy="4759325"/>
              </a:xfrm>
              <a:custGeom>
                <a:avLst/>
                <a:gdLst>
                  <a:gd name="T0" fmla="*/ 1448 w 1448"/>
                  <a:gd name="T1" fmla="*/ 142 h 2998"/>
                  <a:gd name="T2" fmla="*/ 1448 w 1448"/>
                  <a:gd name="T3" fmla="*/ 142 h 2998"/>
                  <a:gd name="T4" fmla="*/ 1268 w 1448"/>
                  <a:gd name="T5" fmla="*/ 110 h 2998"/>
                  <a:gd name="T6" fmla="*/ 1088 w 1448"/>
                  <a:gd name="T7" fmla="*/ 80 h 2998"/>
                  <a:gd name="T8" fmla="*/ 908 w 1448"/>
                  <a:gd name="T9" fmla="*/ 56 h 2998"/>
                  <a:gd name="T10" fmla="*/ 726 w 1448"/>
                  <a:gd name="T11" fmla="*/ 36 h 2998"/>
                  <a:gd name="T12" fmla="*/ 546 w 1448"/>
                  <a:gd name="T13" fmla="*/ 20 h 2998"/>
                  <a:gd name="T14" fmla="*/ 364 w 1448"/>
                  <a:gd name="T15" fmla="*/ 8 h 2998"/>
                  <a:gd name="T16" fmla="*/ 182 w 1448"/>
                  <a:gd name="T17" fmla="*/ 2 h 2998"/>
                  <a:gd name="T18" fmla="*/ 0 w 1448"/>
                  <a:gd name="T19" fmla="*/ 0 h 2998"/>
                  <a:gd name="T20" fmla="*/ 0 w 1448"/>
                  <a:gd name="T21" fmla="*/ 2998 h 2998"/>
                  <a:gd name="T22" fmla="*/ 240 w 1448"/>
                  <a:gd name="T23" fmla="*/ 2998 h 2998"/>
                  <a:gd name="T24" fmla="*/ 240 w 1448"/>
                  <a:gd name="T25" fmla="*/ 2298 h 2998"/>
                  <a:gd name="T26" fmla="*/ 240 w 1448"/>
                  <a:gd name="T27" fmla="*/ 2298 h 2998"/>
                  <a:gd name="T28" fmla="*/ 306 w 1448"/>
                  <a:gd name="T29" fmla="*/ 2258 h 2998"/>
                  <a:gd name="T30" fmla="*/ 372 w 1448"/>
                  <a:gd name="T31" fmla="*/ 2214 h 2998"/>
                  <a:gd name="T32" fmla="*/ 436 w 1448"/>
                  <a:gd name="T33" fmla="*/ 2168 h 2998"/>
                  <a:gd name="T34" fmla="*/ 498 w 1448"/>
                  <a:gd name="T35" fmla="*/ 2120 h 2998"/>
                  <a:gd name="T36" fmla="*/ 558 w 1448"/>
                  <a:gd name="T37" fmla="*/ 2070 h 2998"/>
                  <a:gd name="T38" fmla="*/ 618 w 1448"/>
                  <a:gd name="T39" fmla="*/ 2016 h 2998"/>
                  <a:gd name="T40" fmla="*/ 674 w 1448"/>
                  <a:gd name="T41" fmla="*/ 1960 h 2998"/>
                  <a:gd name="T42" fmla="*/ 730 w 1448"/>
                  <a:gd name="T43" fmla="*/ 1904 h 2998"/>
                  <a:gd name="T44" fmla="*/ 784 w 1448"/>
                  <a:gd name="T45" fmla="*/ 1844 h 2998"/>
                  <a:gd name="T46" fmla="*/ 838 w 1448"/>
                  <a:gd name="T47" fmla="*/ 1784 h 2998"/>
                  <a:gd name="T48" fmla="*/ 888 w 1448"/>
                  <a:gd name="T49" fmla="*/ 1720 h 2998"/>
                  <a:gd name="T50" fmla="*/ 936 w 1448"/>
                  <a:gd name="T51" fmla="*/ 1656 h 2998"/>
                  <a:gd name="T52" fmla="*/ 984 w 1448"/>
                  <a:gd name="T53" fmla="*/ 1590 h 2998"/>
                  <a:gd name="T54" fmla="*/ 1028 w 1448"/>
                  <a:gd name="T55" fmla="*/ 1522 h 2998"/>
                  <a:gd name="T56" fmla="*/ 1072 w 1448"/>
                  <a:gd name="T57" fmla="*/ 1452 h 2998"/>
                  <a:gd name="T58" fmla="*/ 1112 w 1448"/>
                  <a:gd name="T59" fmla="*/ 1382 h 2998"/>
                  <a:gd name="T60" fmla="*/ 1152 w 1448"/>
                  <a:gd name="T61" fmla="*/ 1310 h 2998"/>
                  <a:gd name="T62" fmla="*/ 1188 w 1448"/>
                  <a:gd name="T63" fmla="*/ 1238 h 2998"/>
                  <a:gd name="T64" fmla="*/ 1222 w 1448"/>
                  <a:gd name="T65" fmla="*/ 1164 h 2998"/>
                  <a:gd name="T66" fmla="*/ 1254 w 1448"/>
                  <a:gd name="T67" fmla="*/ 1088 h 2998"/>
                  <a:gd name="T68" fmla="*/ 1284 w 1448"/>
                  <a:gd name="T69" fmla="*/ 1012 h 2998"/>
                  <a:gd name="T70" fmla="*/ 1312 w 1448"/>
                  <a:gd name="T71" fmla="*/ 936 h 2998"/>
                  <a:gd name="T72" fmla="*/ 1338 w 1448"/>
                  <a:gd name="T73" fmla="*/ 858 h 2998"/>
                  <a:gd name="T74" fmla="*/ 1360 w 1448"/>
                  <a:gd name="T75" fmla="*/ 780 h 2998"/>
                  <a:gd name="T76" fmla="*/ 1380 w 1448"/>
                  <a:gd name="T77" fmla="*/ 702 h 2998"/>
                  <a:gd name="T78" fmla="*/ 1398 w 1448"/>
                  <a:gd name="T79" fmla="*/ 622 h 2998"/>
                  <a:gd name="T80" fmla="*/ 1412 w 1448"/>
                  <a:gd name="T81" fmla="*/ 542 h 2998"/>
                  <a:gd name="T82" fmla="*/ 1426 w 1448"/>
                  <a:gd name="T83" fmla="*/ 462 h 2998"/>
                  <a:gd name="T84" fmla="*/ 1436 w 1448"/>
                  <a:gd name="T85" fmla="*/ 382 h 2998"/>
                  <a:gd name="T86" fmla="*/ 1442 w 1448"/>
                  <a:gd name="T87" fmla="*/ 302 h 2998"/>
                  <a:gd name="T88" fmla="*/ 1446 w 1448"/>
                  <a:gd name="T89" fmla="*/ 222 h 2998"/>
                  <a:gd name="T90" fmla="*/ 1448 w 1448"/>
                  <a:gd name="T91" fmla="*/ 142 h 2998"/>
                  <a:gd name="T92" fmla="*/ 1448 w 1448"/>
                  <a:gd name="T93" fmla="*/ 142 h 29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48" h="2998">
                    <a:moveTo>
                      <a:pt x="1448" y="142"/>
                    </a:moveTo>
                    <a:lnTo>
                      <a:pt x="1448" y="142"/>
                    </a:lnTo>
                    <a:lnTo>
                      <a:pt x="1268" y="110"/>
                    </a:lnTo>
                    <a:lnTo>
                      <a:pt x="1088" y="80"/>
                    </a:lnTo>
                    <a:lnTo>
                      <a:pt x="908" y="56"/>
                    </a:lnTo>
                    <a:lnTo>
                      <a:pt x="726" y="36"/>
                    </a:lnTo>
                    <a:lnTo>
                      <a:pt x="546" y="20"/>
                    </a:lnTo>
                    <a:lnTo>
                      <a:pt x="364" y="8"/>
                    </a:lnTo>
                    <a:lnTo>
                      <a:pt x="182" y="2"/>
                    </a:lnTo>
                    <a:lnTo>
                      <a:pt x="0" y="0"/>
                    </a:lnTo>
                    <a:lnTo>
                      <a:pt x="0" y="2998"/>
                    </a:lnTo>
                    <a:lnTo>
                      <a:pt x="240" y="2998"/>
                    </a:lnTo>
                    <a:lnTo>
                      <a:pt x="240" y="2298"/>
                    </a:lnTo>
                    <a:lnTo>
                      <a:pt x="240" y="2298"/>
                    </a:lnTo>
                    <a:lnTo>
                      <a:pt x="306" y="2258"/>
                    </a:lnTo>
                    <a:lnTo>
                      <a:pt x="372" y="2214"/>
                    </a:lnTo>
                    <a:lnTo>
                      <a:pt x="436" y="2168"/>
                    </a:lnTo>
                    <a:lnTo>
                      <a:pt x="498" y="2120"/>
                    </a:lnTo>
                    <a:lnTo>
                      <a:pt x="558" y="2070"/>
                    </a:lnTo>
                    <a:lnTo>
                      <a:pt x="618" y="2016"/>
                    </a:lnTo>
                    <a:lnTo>
                      <a:pt x="674" y="1960"/>
                    </a:lnTo>
                    <a:lnTo>
                      <a:pt x="730" y="1904"/>
                    </a:lnTo>
                    <a:lnTo>
                      <a:pt x="784" y="1844"/>
                    </a:lnTo>
                    <a:lnTo>
                      <a:pt x="838" y="1784"/>
                    </a:lnTo>
                    <a:lnTo>
                      <a:pt x="888" y="1720"/>
                    </a:lnTo>
                    <a:lnTo>
                      <a:pt x="936" y="1656"/>
                    </a:lnTo>
                    <a:lnTo>
                      <a:pt x="984" y="1590"/>
                    </a:lnTo>
                    <a:lnTo>
                      <a:pt x="1028" y="1522"/>
                    </a:lnTo>
                    <a:lnTo>
                      <a:pt x="1072" y="1452"/>
                    </a:lnTo>
                    <a:lnTo>
                      <a:pt x="1112" y="1382"/>
                    </a:lnTo>
                    <a:lnTo>
                      <a:pt x="1152" y="1310"/>
                    </a:lnTo>
                    <a:lnTo>
                      <a:pt x="1188" y="1238"/>
                    </a:lnTo>
                    <a:lnTo>
                      <a:pt x="1222" y="1164"/>
                    </a:lnTo>
                    <a:lnTo>
                      <a:pt x="1254" y="1088"/>
                    </a:lnTo>
                    <a:lnTo>
                      <a:pt x="1284" y="1012"/>
                    </a:lnTo>
                    <a:lnTo>
                      <a:pt x="1312" y="936"/>
                    </a:lnTo>
                    <a:lnTo>
                      <a:pt x="1338" y="858"/>
                    </a:lnTo>
                    <a:lnTo>
                      <a:pt x="1360" y="780"/>
                    </a:lnTo>
                    <a:lnTo>
                      <a:pt x="1380" y="702"/>
                    </a:lnTo>
                    <a:lnTo>
                      <a:pt x="1398" y="622"/>
                    </a:lnTo>
                    <a:lnTo>
                      <a:pt x="1412" y="542"/>
                    </a:lnTo>
                    <a:lnTo>
                      <a:pt x="1426" y="462"/>
                    </a:lnTo>
                    <a:lnTo>
                      <a:pt x="1436" y="382"/>
                    </a:lnTo>
                    <a:lnTo>
                      <a:pt x="1442" y="302"/>
                    </a:lnTo>
                    <a:lnTo>
                      <a:pt x="1446" y="222"/>
                    </a:lnTo>
                    <a:lnTo>
                      <a:pt x="1448" y="142"/>
                    </a:lnTo>
                    <a:lnTo>
                      <a:pt x="1448" y="142"/>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Ubuntu" panose="020B0504030602030204" pitchFamily="34" charset="0"/>
                  <a:ea typeface="+mn-ea"/>
                  <a:cs typeface="+mn-cs"/>
                </a:endParaRPr>
              </a:p>
            </p:txBody>
          </p:sp>
          <p:sp>
            <p:nvSpPr>
              <p:cNvPr id="51" name="Rectangle 139">
                <a:extLst>
                  <a:ext uri="{FF2B5EF4-FFF2-40B4-BE49-F238E27FC236}">
                    <a16:creationId xmlns:a16="http://schemas.microsoft.com/office/drawing/2014/main" id="{B6380DA5-E69B-441F-94A5-B14BE03A282A}"/>
                  </a:ext>
                </a:extLst>
              </p:cNvPr>
              <p:cNvSpPr>
                <a:spLocks noChangeArrowheads="1"/>
              </p:cNvSpPr>
              <p:nvPr/>
            </p:nvSpPr>
            <p:spPr bwMode="auto">
              <a:xfrm>
                <a:off x="15024100" y="6194425"/>
                <a:ext cx="2413000" cy="177800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Ubuntu" panose="020B0504030602030204" pitchFamily="34" charset="0"/>
                  <a:ea typeface="+mn-ea"/>
                  <a:cs typeface="+mn-cs"/>
                </a:endParaRPr>
              </a:p>
            </p:txBody>
          </p:sp>
          <p:sp>
            <p:nvSpPr>
              <p:cNvPr id="52" name="Rectangle 140">
                <a:extLst>
                  <a:ext uri="{FF2B5EF4-FFF2-40B4-BE49-F238E27FC236}">
                    <a16:creationId xmlns:a16="http://schemas.microsoft.com/office/drawing/2014/main" id="{515E364A-D569-440C-B90E-D97D91D45542}"/>
                  </a:ext>
                </a:extLst>
              </p:cNvPr>
              <p:cNvSpPr>
                <a:spLocks noChangeArrowheads="1"/>
              </p:cNvSpPr>
              <p:nvPr/>
            </p:nvSpPr>
            <p:spPr bwMode="auto">
              <a:xfrm>
                <a:off x="16230600" y="6194425"/>
                <a:ext cx="1206500" cy="177800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Ubuntu" panose="020B0504030602030204" pitchFamily="34" charset="0"/>
                  <a:ea typeface="+mn-ea"/>
                  <a:cs typeface="+mn-cs"/>
                </a:endParaRPr>
              </a:p>
            </p:txBody>
          </p:sp>
          <p:sp>
            <p:nvSpPr>
              <p:cNvPr id="53" name="Rectangle 141">
                <a:extLst>
                  <a:ext uri="{FF2B5EF4-FFF2-40B4-BE49-F238E27FC236}">
                    <a16:creationId xmlns:a16="http://schemas.microsoft.com/office/drawing/2014/main" id="{B0B3D34C-B20C-4A4C-9F83-91B9878180C7}"/>
                  </a:ext>
                </a:extLst>
              </p:cNvPr>
              <p:cNvSpPr>
                <a:spLocks noChangeArrowheads="1"/>
              </p:cNvSpPr>
              <p:nvPr/>
            </p:nvSpPr>
            <p:spPr bwMode="auto">
              <a:xfrm>
                <a:off x="15532100" y="6765925"/>
                <a:ext cx="1397000" cy="38100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Ubuntu" panose="020B0504030602030204" pitchFamily="34" charset="0"/>
                  <a:ea typeface="+mn-ea"/>
                  <a:cs typeface="+mn-cs"/>
                </a:endParaRPr>
              </a:p>
            </p:txBody>
          </p:sp>
          <p:sp>
            <p:nvSpPr>
              <p:cNvPr id="54" name="Rectangle 142">
                <a:extLst>
                  <a:ext uri="{FF2B5EF4-FFF2-40B4-BE49-F238E27FC236}">
                    <a16:creationId xmlns:a16="http://schemas.microsoft.com/office/drawing/2014/main" id="{DEFE78E6-7E2E-46FF-8204-0147B5CFF629}"/>
                  </a:ext>
                </a:extLst>
              </p:cNvPr>
              <p:cNvSpPr>
                <a:spLocks noChangeArrowheads="1"/>
              </p:cNvSpPr>
              <p:nvPr/>
            </p:nvSpPr>
            <p:spPr bwMode="auto">
              <a:xfrm>
                <a:off x="14579600" y="7718425"/>
                <a:ext cx="3302000" cy="38100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Ubuntu" panose="020B0504030602030204" pitchFamily="34" charset="0"/>
                  <a:ea typeface="+mn-ea"/>
                  <a:cs typeface="+mn-cs"/>
                </a:endParaRPr>
              </a:p>
            </p:txBody>
          </p:sp>
          <p:sp>
            <p:nvSpPr>
              <p:cNvPr id="55" name="Rectangle 143">
                <a:extLst>
                  <a:ext uri="{FF2B5EF4-FFF2-40B4-BE49-F238E27FC236}">
                    <a16:creationId xmlns:a16="http://schemas.microsoft.com/office/drawing/2014/main" id="{68BABEFE-0167-4A95-AA82-808483043046}"/>
                  </a:ext>
                </a:extLst>
              </p:cNvPr>
              <p:cNvSpPr>
                <a:spLocks noChangeArrowheads="1"/>
              </p:cNvSpPr>
              <p:nvPr/>
            </p:nvSpPr>
            <p:spPr bwMode="auto">
              <a:xfrm>
                <a:off x="16230600" y="7718425"/>
                <a:ext cx="1651000" cy="38100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Ubuntu" panose="020B0504030602030204" pitchFamily="34" charset="0"/>
                  <a:ea typeface="+mn-ea"/>
                  <a:cs typeface="+mn-cs"/>
                </a:endParaRPr>
              </a:p>
            </p:txBody>
          </p:sp>
          <p:sp>
            <p:nvSpPr>
              <p:cNvPr id="56" name="Rectangle 144">
                <a:extLst>
                  <a:ext uri="{FF2B5EF4-FFF2-40B4-BE49-F238E27FC236}">
                    <a16:creationId xmlns:a16="http://schemas.microsoft.com/office/drawing/2014/main" id="{C7098512-C91A-4AD8-9292-E816A2FC756E}"/>
                  </a:ext>
                </a:extLst>
              </p:cNvPr>
              <p:cNvSpPr>
                <a:spLocks noChangeArrowheads="1"/>
              </p:cNvSpPr>
              <p:nvPr/>
            </p:nvSpPr>
            <p:spPr bwMode="auto">
              <a:xfrm>
                <a:off x="16230600" y="6765925"/>
                <a:ext cx="698500" cy="38100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Ubuntu" panose="020B0504030602030204" pitchFamily="34" charset="0"/>
                  <a:ea typeface="+mn-ea"/>
                  <a:cs typeface="+mn-cs"/>
                </a:endParaRPr>
              </a:p>
            </p:txBody>
          </p:sp>
        </p:grpSp>
      </p:grpSp>
      <p:sp>
        <p:nvSpPr>
          <p:cNvPr id="4" name="TextBox 3">
            <a:extLst>
              <a:ext uri="{FF2B5EF4-FFF2-40B4-BE49-F238E27FC236}">
                <a16:creationId xmlns:a16="http://schemas.microsoft.com/office/drawing/2014/main" id="{07DB1DCD-0076-EA89-CAED-3AF6D3A8F445}"/>
              </a:ext>
            </a:extLst>
          </p:cNvPr>
          <p:cNvSpPr txBox="1"/>
          <p:nvPr/>
        </p:nvSpPr>
        <p:spPr>
          <a:xfrm>
            <a:off x="277941" y="891043"/>
            <a:ext cx="7055877" cy="29238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300" b="1" i="0" u="none" strike="noStrike" kern="1200" cap="none" spc="0" normalizeH="0" baseline="0" noProof="0">
                <a:ln>
                  <a:noFill/>
                </a:ln>
                <a:solidFill>
                  <a:srgbClr val="0070AD">
                    <a:lumMod val="50000"/>
                  </a:srgbClr>
                </a:solidFill>
                <a:effectLst/>
                <a:uLnTx/>
                <a:uFillTx/>
                <a:latin typeface="Ubuntu" panose="020B0504030602030204" pitchFamily="34" charset="0"/>
                <a:ea typeface="+mn-ea"/>
                <a:cs typeface="+mn-cs"/>
              </a:rPr>
              <a:t>IMPLEMENT A FUTURE STATE WORKFLOW FOR OPERATIONAL EXCELLENCE </a:t>
            </a:r>
          </a:p>
        </p:txBody>
      </p:sp>
    </p:spTree>
    <p:extLst>
      <p:ext uri="{BB962C8B-B14F-4D97-AF65-F5344CB8AC3E}">
        <p14:creationId xmlns:p14="http://schemas.microsoft.com/office/powerpoint/2010/main" val="139469384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277943" y="879872"/>
            <a:ext cx="7055877" cy="29238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300" b="1" i="0" u="none" strike="noStrike" kern="1200" cap="none" spc="0" normalizeH="0" baseline="0" noProof="0">
                <a:ln>
                  <a:noFill/>
                </a:ln>
                <a:solidFill>
                  <a:srgbClr val="0070AD">
                    <a:lumMod val="50000"/>
                  </a:srgbClr>
                </a:solidFill>
                <a:effectLst/>
                <a:uLnTx/>
                <a:uFillTx/>
                <a:latin typeface="Ubuntu" panose="020B0504030602030204" pitchFamily="34" charset="0"/>
                <a:ea typeface="+mn-ea"/>
                <a:cs typeface="+mn-cs"/>
              </a:rPr>
              <a:t>Customize Majesco system for enabling quick product development &amp; speed to market</a:t>
            </a:r>
          </a:p>
        </p:txBody>
      </p:sp>
      <p:sp>
        <p:nvSpPr>
          <p:cNvPr id="22" name="TextBox 21">
            <a:extLst>
              <a:ext uri="{FF2B5EF4-FFF2-40B4-BE49-F238E27FC236}">
                <a16:creationId xmlns:a16="http://schemas.microsoft.com/office/drawing/2014/main" id="{5C8C6FCE-3ACC-424B-812F-6F2C3A86A4E5}"/>
              </a:ext>
            </a:extLst>
          </p:cNvPr>
          <p:cNvSpPr txBox="1">
            <a:spLocks/>
          </p:cNvSpPr>
          <p:nvPr/>
        </p:nvSpPr>
        <p:spPr>
          <a:xfrm>
            <a:off x="851635" y="1683037"/>
            <a:ext cx="6626071" cy="846386"/>
          </a:xfrm>
          <a:prstGeom prst="rect">
            <a:avLst/>
          </a:prstGeom>
          <a:noFill/>
        </p:spPr>
        <p:txBody>
          <a:bodyPr wrap="square" lIns="0" tIns="0" rIns="0" bIns="0" rtlCol="0">
            <a:spAutoFit/>
          </a:bodyPr>
          <a:lstStyle/>
          <a:p>
            <a:pPr marL="171450" marR="0" lvl="0" indent="-171450" algn="l" defTabSz="914400" rtl="0" eaLnBrk="1" fontAlgn="auto" latinLnBrk="0" hangingPunct="1">
              <a:lnSpc>
                <a:spcPct val="100000"/>
              </a:lnSpc>
              <a:spcBef>
                <a:spcPts val="100"/>
              </a:spcBef>
              <a:spcAft>
                <a:spcPts val="200"/>
              </a:spcAft>
              <a:buClr>
                <a:srgbClr val="0070AD"/>
              </a:buClr>
              <a:buSzTx/>
              <a:buFont typeface="Wingdings" panose="05000000000000000000" pitchFamily="2" charset="2"/>
              <a:buChar char="§"/>
              <a:tabLst/>
              <a:defRPr/>
            </a:pPr>
            <a:r>
              <a:rPr kumimoji="0" lang="en-IN" sz="1000" b="0" i="0" u="none" strike="noStrike" kern="1200" cap="none" spc="0" normalizeH="0" baseline="0" noProof="0">
                <a:ln>
                  <a:noFill/>
                </a:ln>
                <a:solidFill>
                  <a:prstClr val="black"/>
                </a:solidFill>
                <a:effectLst/>
                <a:uLnTx/>
                <a:uFillTx/>
                <a:latin typeface="Ubuntu Medium"/>
                <a:ea typeface="+mn-ea"/>
                <a:cs typeface="+mn-cs"/>
              </a:rPr>
              <a:t>Objective was to expand the benefits horizon as a leading provider of supplemental medical benefits, providing customized solutions for organizations of any size, in almost any industry, across the US.</a:t>
            </a:r>
          </a:p>
          <a:p>
            <a:pPr marL="171450" marR="0" lvl="0" indent="-171450" algn="l" defTabSz="914400" rtl="0" eaLnBrk="1" fontAlgn="auto" latinLnBrk="0" hangingPunct="1">
              <a:lnSpc>
                <a:spcPct val="100000"/>
              </a:lnSpc>
              <a:spcBef>
                <a:spcPts val="100"/>
              </a:spcBef>
              <a:spcAft>
                <a:spcPts val="200"/>
              </a:spcAft>
              <a:buClr>
                <a:srgbClr val="0070AD"/>
              </a:buClr>
              <a:buSzTx/>
              <a:buFont typeface="Wingdings" panose="05000000000000000000" pitchFamily="2" charset="2"/>
              <a:buChar char="§"/>
              <a:tabLst/>
              <a:defRPr/>
            </a:pPr>
            <a:r>
              <a:rPr kumimoji="0" lang="en-IN" sz="1000" b="0" i="0" u="none" strike="noStrike" kern="1200" cap="none" spc="0" normalizeH="0" baseline="0" noProof="0">
                <a:ln>
                  <a:noFill/>
                </a:ln>
                <a:solidFill>
                  <a:prstClr val="black"/>
                </a:solidFill>
                <a:effectLst/>
                <a:uLnTx/>
                <a:uFillTx/>
                <a:latin typeface="Ubuntu Medium"/>
                <a:ea typeface="+mn-ea"/>
                <a:cs typeface="+mn-cs"/>
              </a:rPr>
              <a:t>Radically improve technology footprint and have a fully integrated solution on one platform with digital engagement</a:t>
            </a:r>
          </a:p>
          <a:p>
            <a:pPr marL="171450" marR="0" lvl="0" indent="-171450" algn="l" defTabSz="914400" rtl="0" eaLnBrk="1" fontAlgn="auto" latinLnBrk="0" hangingPunct="1">
              <a:lnSpc>
                <a:spcPct val="100000"/>
              </a:lnSpc>
              <a:spcBef>
                <a:spcPts val="100"/>
              </a:spcBef>
              <a:spcAft>
                <a:spcPts val="200"/>
              </a:spcAft>
              <a:buClr>
                <a:srgbClr val="0070AD"/>
              </a:buClr>
              <a:buSzTx/>
              <a:buFont typeface="Wingdings" panose="05000000000000000000" pitchFamily="2" charset="2"/>
              <a:buChar char="§"/>
              <a:tabLst/>
              <a:defRPr/>
            </a:pPr>
            <a:r>
              <a:rPr kumimoji="0" lang="en-IN" sz="1000" b="0" i="0" u="none" strike="noStrike" kern="1200" cap="none" spc="0" normalizeH="0" baseline="0" noProof="0">
                <a:ln>
                  <a:noFill/>
                </a:ln>
                <a:solidFill>
                  <a:prstClr val="black"/>
                </a:solidFill>
                <a:effectLst/>
                <a:uLnTx/>
                <a:uFillTx/>
                <a:latin typeface="Ubuntu Medium"/>
                <a:ea typeface="+mn-ea"/>
                <a:cs typeface="+mn-cs"/>
              </a:rPr>
              <a:t>Enable rapid adaptation for new, innovative products or benefit plans</a:t>
            </a:r>
          </a:p>
        </p:txBody>
      </p:sp>
      <p:grpSp>
        <p:nvGrpSpPr>
          <p:cNvPr id="3" name="Group 2">
            <a:extLst>
              <a:ext uri="{FF2B5EF4-FFF2-40B4-BE49-F238E27FC236}">
                <a16:creationId xmlns:a16="http://schemas.microsoft.com/office/drawing/2014/main" id="{B5F96091-67C7-4DE0-80EC-28296FE9CB74}"/>
              </a:ext>
            </a:extLst>
          </p:cNvPr>
          <p:cNvGrpSpPr/>
          <p:nvPr/>
        </p:nvGrpSpPr>
        <p:grpSpPr>
          <a:xfrm>
            <a:off x="250564" y="1182579"/>
            <a:ext cx="2668397" cy="520776"/>
            <a:chOff x="107422" y="1688882"/>
            <a:chExt cx="2668397" cy="520776"/>
          </a:xfrm>
        </p:grpSpPr>
        <p:sp>
          <p:nvSpPr>
            <p:cNvPr id="27" name="Rectangle: Top Corners Snipped 46">
              <a:extLst>
                <a:ext uri="{FF2B5EF4-FFF2-40B4-BE49-F238E27FC236}">
                  <a16:creationId xmlns:a16="http://schemas.microsoft.com/office/drawing/2014/main" id="{49FAC555-335F-4F5A-96A5-D58367437A7B}"/>
                </a:ext>
              </a:extLst>
            </p:cNvPr>
            <p:cNvSpPr>
              <a:spLocks/>
            </p:cNvSpPr>
            <p:nvPr/>
          </p:nvSpPr>
          <p:spPr>
            <a:xfrm>
              <a:off x="501828" y="1819679"/>
              <a:ext cx="2273991" cy="322068"/>
            </a:xfrm>
            <a:prstGeom prst="rect">
              <a:avLst/>
            </a:prstGeom>
            <a:solidFill>
              <a:schemeClr val="accent2"/>
            </a:solid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prstClr val="white"/>
                  </a:solidFill>
                  <a:effectLst/>
                  <a:uLnTx/>
                  <a:uFillTx/>
                  <a:latin typeface="Ubuntu" panose="020B0504030602030204" pitchFamily="34" charset="0"/>
                  <a:ea typeface="+mn-ea"/>
                  <a:cs typeface="+mn-cs"/>
                </a:rPr>
                <a:t>       Business challenge</a:t>
              </a:r>
            </a:p>
          </p:txBody>
        </p:sp>
        <p:sp>
          <p:nvSpPr>
            <p:cNvPr id="28" name="Oval 27">
              <a:extLst>
                <a:ext uri="{FF2B5EF4-FFF2-40B4-BE49-F238E27FC236}">
                  <a16:creationId xmlns:a16="http://schemas.microsoft.com/office/drawing/2014/main" id="{85CD967C-8C2D-467A-9B56-5AEE034D2857}"/>
                </a:ext>
              </a:extLst>
            </p:cNvPr>
            <p:cNvSpPr/>
            <p:nvPr/>
          </p:nvSpPr>
          <p:spPr>
            <a:xfrm>
              <a:off x="107422" y="1688882"/>
              <a:ext cx="520776" cy="520776"/>
            </a:xfrm>
            <a:prstGeom prst="ellipse">
              <a:avLst/>
            </a:prstGeom>
            <a:solidFill>
              <a:schemeClr val="accent1">
                <a:lumMod val="50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Ubuntu" panose="020B0504030602030204" pitchFamily="34" charset="0"/>
                <a:ea typeface="+mn-ea"/>
                <a:cs typeface="+mn-cs"/>
              </a:endParaRPr>
            </a:p>
          </p:txBody>
        </p:sp>
      </p:grpSp>
      <p:grpSp>
        <p:nvGrpSpPr>
          <p:cNvPr id="29" name="Group 28">
            <a:extLst>
              <a:ext uri="{FF2B5EF4-FFF2-40B4-BE49-F238E27FC236}">
                <a16:creationId xmlns:a16="http://schemas.microsoft.com/office/drawing/2014/main" id="{0420E46A-42E1-4F5A-88A9-64830B0078BA}"/>
              </a:ext>
            </a:extLst>
          </p:cNvPr>
          <p:cNvGrpSpPr/>
          <p:nvPr/>
        </p:nvGrpSpPr>
        <p:grpSpPr>
          <a:xfrm>
            <a:off x="362997" y="1315158"/>
            <a:ext cx="301865" cy="251137"/>
            <a:chOff x="646307" y="1893616"/>
            <a:chExt cx="371840" cy="309353"/>
          </a:xfrm>
          <a:solidFill>
            <a:schemeClr val="bg1"/>
          </a:solidFill>
        </p:grpSpPr>
        <p:sp>
          <p:nvSpPr>
            <p:cNvPr id="30" name="Freeform 26">
              <a:extLst>
                <a:ext uri="{FF2B5EF4-FFF2-40B4-BE49-F238E27FC236}">
                  <a16:creationId xmlns:a16="http://schemas.microsoft.com/office/drawing/2014/main" id="{316DF9AE-D55D-4134-8F0B-532483698DBF}"/>
                </a:ext>
              </a:extLst>
            </p:cNvPr>
            <p:cNvSpPr>
              <a:spLocks noEditPoints="1"/>
            </p:cNvSpPr>
            <p:nvPr/>
          </p:nvSpPr>
          <p:spPr bwMode="auto">
            <a:xfrm>
              <a:off x="666194" y="1893616"/>
              <a:ext cx="351953" cy="309353"/>
            </a:xfrm>
            <a:custGeom>
              <a:avLst/>
              <a:gdLst>
                <a:gd name="T0" fmla="*/ 1734 w 1747"/>
                <a:gd name="T1" fmla="*/ 1404 h 1531"/>
                <a:gd name="T2" fmla="*/ 948 w 1747"/>
                <a:gd name="T3" fmla="*/ 42 h 1531"/>
                <a:gd name="T4" fmla="*/ 876 w 1747"/>
                <a:gd name="T5" fmla="*/ 0 h 1531"/>
                <a:gd name="T6" fmla="*/ 804 w 1747"/>
                <a:gd name="T7" fmla="*/ 42 h 1531"/>
                <a:gd name="T8" fmla="*/ 15 w 1747"/>
                <a:gd name="T9" fmla="*/ 1407 h 1531"/>
                <a:gd name="T10" fmla="*/ 15 w 1747"/>
                <a:gd name="T11" fmla="*/ 1490 h 1531"/>
                <a:gd name="T12" fmla="*/ 87 w 1747"/>
                <a:gd name="T13" fmla="*/ 1531 h 1531"/>
                <a:gd name="T14" fmla="*/ 1664 w 1747"/>
                <a:gd name="T15" fmla="*/ 1531 h 1531"/>
                <a:gd name="T16" fmla="*/ 1664 w 1747"/>
                <a:gd name="T17" fmla="*/ 1531 h 1531"/>
                <a:gd name="T18" fmla="*/ 1747 w 1747"/>
                <a:gd name="T19" fmla="*/ 1448 h 1531"/>
                <a:gd name="T20" fmla="*/ 1734 w 1747"/>
                <a:gd name="T21" fmla="*/ 1404 h 1531"/>
                <a:gd name="T22" fmla="*/ 231 w 1747"/>
                <a:gd name="T23" fmla="*/ 1366 h 1531"/>
                <a:gd name="T24" fmla="*/ 876 w 1747"/>
                <a:gd name="T25" fmla="*/ 250 h 1531"/>
                <a:gd name="T26" fmla="*/ 1520 w 1747"/>
                <a:gd name="T27" fmla="*/ 1366 h 1531"/>
                <a:gd name="T28" fmla="*/ 231 w 1747"/>
                <a:gd name="T29" fmla="*/ 1366 h 1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47" h="1531">
                  <a:moveTo>
                    <a:pt x="1734" y="1404"/>
                  </a:moveTo>
                  <a:cubicBezTo>
                    <a:pt x="948" y="42"/>
                    <a:pt x="948" y="42"/>
                    <a:pt x="948" y="42"/>
                  </a:cubicBezTo>
                  <a:cubicBezTo>
                    <a:pt x="933" y="16"/>
                    <a:pt x="905" y="0"/>
                    <a:pt x="876" y="0"/>
                  </a:cubicBezTo>
                  <a:cubicBezTo>
                    <a:pt x="846" y="0"/>
                    <a:pt x="818" y="16"/>
                    <a:pt x="804" y="42"/>
                  </a:cubicBezTo>
                  <a:cubicBezTo>
                    <a:pt x="15" y="1407"/>
                    <a:pt x="15" y="1407"/>
                    <a:pt x="15" y="1407"/>
                  </a:cubicBezTo>
                  <a:cubicBezTo>
                    <a:pt x="0" y="1433"/>
                    <a:pt x="0" y="1464"/>
                    <a:pt x="15" y="1490"/>
                  </a:cubicBezTo>
                  <a:cubicBezTo>
                    <a:pt x="30" y="1516"/>
                    <a:pt x="58" y="1531"/>
                    <a:pt x="87" y="1531"/>
                  </a:cubicBezTo>
                  <a:cubicBezTo>
                    <a:pt x="1664" y="1531"/>
                    <a:pt x="1664" y="1531"/>
                    <a:pt x="1664" y="1531"/>
                  </a:cubicBezTo>
                  <a:cubicBezTo>
                    <a:pt x="1664" y="1531"/>
                    <a:pt x="1664" y="1531"/>
                    <a:pt x="1664" y="1531"/>
                  </a:cubicBezTo>
                  <a:cubicBezTo>
                    <a:pt x="1710" y="1531"/>
                    <a:pt x="1747" y="1494"/>
                    <a:pt x="1747" y="1448"/>
                  </a:cubicBezTo>
                  <a:cubicBezTo>
                    <a:pt x="1747" y="1432"/>
                    <a:pt x="1743" y="1417"/>
                    <a:pt x="1734" y="1404"/>
                  </a:cubicBezTo>
                  <a:close/>
                  <a:moveTo>
                    <a:pt x="231" y="1366"/>
                  </a:moveTo>
                  <a:cubicBezTo>
                    <a:pt x="876" y="250"/>
                    <a:pt x="876" y="250"/>
                    <a:pt x="876" y="250"/>
                  </a:cubicBezTo>
                  <a:cubicBezTo>
                    <a:pt x="1520" y="1366"/>
                    <a:pt x="1520" y="1366"/>
                    <a:pt x="1520" y="1366"/>
                  </a:cubicBezTo>
                  <a:lnTo>
                    <a:pt x="231" y="1366"/>
                  </a:lnTo>
                  <a:close/>
                </a:path>
              </a:pathLst>
            </a:custGeom>
            <a:grpFill/>
            <a:ln w="9525">
              <a:noFill/>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1000"/>
                </a:spcBef>
                <a:spcAft>
                  <a:spcPts val="0"/>
                </a:spcAft>
                <a:buClrTx/>
                <a:buSzTx/>
                <a:buFontTx/>
                <a:buNone/>
                <a:tabLst/>
                <a:defRPr/>
              </a:pPr>
              <a:endParaRPr kumimoji="0" lang="en-IE" sz="3200" b="1" i="0" u="none" strike="noStrike" kern="0" cap="none" spc="0" normalizeH="0" baseline="0" noProof="0">
                <a:ln>
                  <a:noFill/>
                </a:ln>
                <a:solidFill>
                  <a:prstClr val="white"/>
                </a:solidFill>
                <a:effectLst/>
                <a:uLnTx/>
                <a:uFillTx/>
                <a:latin typeface="Ubuntu" panose="020B0504030602030204" pitchFamily="34" charset="0"/>
                <a:ea typeface="+mn-ea"/>
                <a:cs typeface="+mn-cs"/>
              </a:endParaRPr>
            </a:p>
          </p:txBody>
        </p:sp>
        <p:sp>
          <p:nvSpPr>
            <p:cNvPr id="31" name="Freeform 42">
              <a:extLst>
                <a:ext uri="{FF2B5EF4-FFF2-40B4-BE49-F238E27FC236}">
                  <a16:creationId xmlns:a16="http://schemas.microsoft.com/office/drawing/2014/main" id="{68AC1A1D-3F47-428A-A99F-0409FFF0463B}"/>
                </a:ext>
              </a:extLst>
            </p:cNvPr>
            <p:cNvSpPr>
              <a:spLocks/>
            </p:cNvSpPr>
            <p:nvPr/>
          </p:nvSpPr>
          <p:spPr bwMode="auto">
            <a:xfrm>
              <a:off x="646307" y="1984458"/>
              <a:ext cx="154640" cy="185768"/>
            </a:xfrm>
            <a:custGeom>
              <a:avLst/>
              <a:gdLst>
                <a:gd name="T0" fmla="*/ 1376 w 1540"/>
                <a:gd name="T1" fmla="*/ 1682 h 1850"/>
                <a:gd name="T2" fmla="*/ 1376 w 1540"/>
                <a:gd name="T3" fmla="*/ 1690 h 1850"/>
                <a:gd name="T4" fmla="*/ 1366 w 1540"/>
                <a:gd name="T5" fmla="*/ 1720 h 1850"/>
                <a:gd name="T6" fmla="*/ 1352 w 1540"/>
                <a:gd name="T7" fmla="*/ 1750 h 1850"/>
                <a:gd name="T8" fmla="*/ 1328 w 1540"/>
                <a:gd name="T9" fmla="*/ 1782 h 1850"/>
                <a:gd name="T10" fmla="*/ 1290 w 1540"/>
                <a:gd name="T11" fmla="*/ 1812 h 1850"/>
                <a:gd name="T12" fmla="*/ 1236 w 1540"/>
                <a:gd name="T13" fmla="*/ 1834 h 1850"/>
                <a:gd name="T14" fmla="*/ 1164 w 1540"/>
                <a:gd name="T15" fmla="*/ 1848 h 1850"/>
                <a:gd name="T16" fmla="*/ 272 w 1540"/>
                <a:gd name="T17" fmla="*/ 1850 h 1850"/>
                <a:gd name="T18" fmla="*/ 260 w 1540"/>
                <a:gd name="T19" fmla="*/ 1846 h 1850"/>
                <a:gd name="T20" fmla="*/ 186 w 1540"/>
                <a:gd name="T21" fmla="*/ 1822 h 1850"/>
                <a:gd name="T22" fmla="*/ 136 w 1540"/>
                <a:gd name="T23" fmla="*/ 1800 h 1850"/>
                <a:gd name="T24" fmla="*/ 86 w 1540"/>
                <a:gd name="T25" fmla="*/ 1772 h 1850"/>
                <a:gd name="T26" fmla="*/ 42 w 1540"/>
                <a:gd name="T27" fmla="*/ 1736 h 1850"/>
                <a:gd name="T28" fmla="*/ 18 w 1540"/>
                <a:gd name="T29" fmla="*/ 1704 h 1850"/>
                <a:gd name="T30" fmla="*/ 6 w 1540"/>
                <a:gd name="T31" fmla="*/ 1680 h 1850"/>
                <a:gd name="T32" fmla="*/ 0 w 1540"/>
                <a:gd name="T33" fmla="*/ 1656 h 1850"/>
                <a:gd name="T34" fmla="*/ 0 w 1540"/>
                <a:gd name="T35" fmla="*/ 826 h 1850"/>
                <a:gd name="T36" fmla="*/ 20 w 1540"/>
                <a:gd name="T37" fmla="*/ 816 h 1850"/>
                <a:gd name="T38" fmla="*/ 150 w 1540"/>
                <a:gd name="T39" fmla="*/ 750 h 1850"/>
                <a:gd name="T40" fmla="*/ 236 w 1540"/>
                <a:gd name="T41" fmla="*/ 698 h 1850"/>
                <a:gd name="T42" fmla="*/ 322 w 1540"/>
                <a:gd name="T43" fmla="*/ 634 h 1850"/>
                <a:gd name="T44" fmla="*/ 380 w 1540"/>
                <a:gd name="T45" fmla="*/ 582 h 1850"/>
                <a:gd name="T46" fmla="*/ 414 w 1540"/>
                <a:gd name="T47" fmla="*/ 544 h 1850"/>
                <a:gd name="T48" fmla="*/ 442 w 1540"/>
                <a:gd name="T49" fmla="*/ 504 h 1850"/>
                <a:gd name="T50" fmla="*/ 460 w 1540"/>
                <a:gd name="T51" fmla="*/ 464 h 1850"/>
                <a:gd name="T52" fmla="*/ 470 w 1540"/>
                <a:gd name="T53" fmla="*/ 422 h 1850"/>
                <a:gd name="T54" fmla="*/ 472 w 1540"/>
                <a:gd name="T55" fmla="*/ 2 h 1850"/>
                <a:gd name="T56" fmla="*/ 488 w 1540"/>
                <a:gd name="T57" fmla="*/ 0 h 1850"/>
                <a:gd name="T58" fmla="*/ 554 w 1540"/>
                <a:gd name="T59" fmla="*/ 2 h 1850"/>
                <a:gd name="T60" fmla="*/ 616 w 1540"/>
                <a:gd name="T61" fmla="*/ 14 h 1850"/>
                <a:gd name="T62" fmla="*/ 680 w 1540"/>
                <a:gd name="T63" fmla="*/ 36 h 1850"/>
                <a:gd name="T64" fmla="*/ 712 w 1540"/>
                <a:gd name="T65" fmla="*/ 54 h 1850"/>
                <a:gd name="T66" fmla="*/ 742 w 1540"/>
                <a:gd name="T67" fmla="*/ 78 h 1850"/>
                <a:gd name="T68" fmla="*/ 770 w 1540"/>
                <a:gd name="T69" fmla="*/ 106 h 1850"/>
                <a:gd name="T70" fmla="*/ 792 w 1540"/>
                <a:gd name="T71" fmla="*/ 142 h 1850"/>
                <a:gd name="T72" fmla="*/ 808 w 1540"/>
                <a:gd name="T73" fmla="*/ 184 h 1850"/>
                <a:gd name="T74" fmla="*/ 820 w 1540"/>
                <a:gd name="T75" fmla="*/ 232 h 1850"/>
                <a:gd name="T76" fmla="*/ 824 w 1540"/>
                <a:gd name="T77" fmla="*/ 290 h 1850"/>
                <a:gd name="T78" fmla="*/ 1328 w 1540"/>
                <a:gd name="T79" fmla="*/ 658 h 1850"/>
                <a:gd name="T80" fmla="*/ 1338 w 1540"/>
                <a:gd name="T81" fmla="*/ 660 h 1850"/>
                <a:gd name="T82" fmla="*/ 1404 w 1540"/>
                <a:gd name="T83" fmla="*/ 684 h 1850"/>
                <a:gd name="T84" fmla="*/ 1448 w 1540"/>
                <a:gd name="T85" fmla="*/ 706 h 1850"/>
                <a:gd name="T86" fmla="*/ 1488 w 1540"/>
                <a:gd name="T87" fmla="*/ 738 h 1850"/>
                <a:gd name="T88" fmla="*/ 1520 w 1540"/>
                <a:gd name="T89" fmla="*/ 776 h 1850"/>
                <a:gd name="T90" fmla="*/ 1536 w 1540"/>
                <a:gd name="T91" fmla="*/ 812 h 1850"/>
                <a:gd name="T92" fmla="*/ 1540 w 1540"/>
                <a:gd name="T93" fmla="*/ 838 h 1850"/>
                <a:gd name="T94" fmla="*/ 1538 w 1540"/>
                <a:gd name="T95" fmla="*/ 866 h 1850"/>
                <a:gd name="T96" fmla="*/ 1536 w 1540"/>
                <a:gd name="T97" fmla="*/ 882 h 18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40" h="1850">
                  <a:moveTo>
                    <a:pt x="1536" y="882"/>
                  </a:moveTo>
                  <a:lnTo>
                    <a:pt x="1376" y="1682"/>
                  </a:lnTo>
                  <a:lnTo>
                    <a:pt x="1376" y="1682"/>
                  </a:lnTo>
                  <a:lnTo>
                    <a:pt x="1376" y="1690"/>
                  </a:lnTo>
                  <a:lnTo>
                    <a:pt x="1370" y="1708"/>
                  </a:lnTo>
                  <a:lnTo>
                    <a:pt x="1366" y="1720"/>
                  </a:lnTo>
                  <a:lnTo>
                    <a:pt x="1360" y="1736"/>
                  </a:lnTo>
                  <a:lnTo>
                    <a:pt x="1352" y="1750"/>
                  </a:lnTo>
                  <a:lnTo>
                    <a:pt x="1342" y="1766"/>
                  </a:lnTo>
                  <a:lnTo>
                    <a:pt x="1328" y="1782"/>
                  </a:lnTo>
                  <a:lnTo>
                    <a:pt x="1310" y="1796"/>
                  </a:lnTo>
                  <a:lnTo>
                    <a:pt x="1290" y="1812"/>
                  </a:lnTo>
                  <a:lnTo>
                    <a:pt x="1264" y="1824"/>
                  </a:lnTo>
                  <a:lnTo>
                    <a:pt x="1236" y="1834"/>
                  </a:lnTo>
                  <a:lnTo>
                    <a:pt x="1202" y="1842"/>
                  </a:lnTo>
                  <a:lnTo>
                    <a:pt x="1164" y="1848"/>
                  </a:lnTo>
                  <a:lnTo>
                    <a:pt x="1120" y="1850"/>
                  </a:lnTo>
                  <a:lnTo>
                    <a:pt x="272" y="1850"/>
                  </a:lnTo>
                  <a:lnTo>
                    <a:pt x="272" y="1850"/>
                  </a:lnTo>
                  <a:lnTo>
                    <a:pt x="260" y="1846"/>
                  </a:lnTo>
                  <a:lnTo>
                    <a:pt x="230" y="1838"/>
                  </a:lnTo>
                  <a:lnTo>
                    <a:pt x="186" y="1822"/>
                  </a:lnTo>
                  <a:lnTo>
                    <a:pt x="162" y="1812"/>
                  </a:lnTo>
                  <a:lnTo>
                    <a:pt x="136" y="1800"/>
                  </a:lnTo>
                  <a:lnTo>
                    <a:pt x="110" y="1786"/>
                  </a:lnTo>
                  <a:lnTo>
                    <a:pt x="86" y="1772"/>
                  </a:lnTo>
                  <a:lnTo>
                    <a:pt x="64" y="1754"/>
                  </a:lnTo>
                  <a:lnTo>
                    <a:pt x="42" y="1736"/>
                  </a:lnTo>
                  <a:lnTo>
                    <a:pt x="26" y="1714"/>
                  </a:lnTo>
                  <a:lnTo>
                    <a:pt x="18" y="1704"/>
                  </a:lnTo>
                  <a:lnTo>
                    <a:pt x="12" y="1692"/>
                  </a:lnTo>
                  <a:lnTo>
                    <a:pt x="6" y="1680"/>
                  </a:lnTo>
                  <a:lnTo>
                    <a:pt x="4" y="1668"/>
                  </a:lnTo>
                  <a:lnTo>
                    <a:pt x="0" y="1656"/>
                  </a:lnTo>
                  <a:lnTo>
                    <a:pt x="0" y="1642"/>
                  </a:lnTo>
                  <a:lnTo>
                    <a:pt x="0" y="826"/>
                  </a:lnTo>
                  <a:lnTo>
                    <a:pt x="0" y="826"/>
                  </a:lnTo>
                  <a:lnTo>
                    <a:pt x="20" y="816"/>
                  </a:lnTo>
                  <a:lnTo>
                    <a:pt x="74" y="792"/>
                  </a:lnTo>
                  <a:lnTo>
                    <a:pt x="150" y="750"/>
                  </a:lnTo>
                  <a:lnTo>
                    <a:pt x="192" y="726"/>
                  </a:lnTo>
                  <a:lnTo>
                    <a:pt x="236" y="698"/>
                  </a:lnTo>
                  <a:lnTo>
                    <a:pt x="280" y="668"/>
                  </a:lnTo>
                  <a:lnTo>
                    <a:pt x="322" y="634"/>
                  </a:lnTo>
                  <a:lnTo>
                    <a:pt x="362" y="600"/>
                  </a:lnTo>
                  <a:lnTo>
                    <a:pt x="380" y="582"/>
                  </a:lnTo>
                  <a:lnTo>
                    <a:pt x="398" y="562"/>
                  </a:lnTo>
                  <a:lnTo>
                    <a:pt x="414" y="544"/>
                  </a:lnTo>
                  <a:lnTo>
                    <a:pt x="428" y="524"/>
                  </a:lnTo>
                  <a:lnTo>
                    <a:pt x="442" y="504"/>
                  </a:lnTo>
                  <a:lnTo>
                    <a:pt x="452" y="484"/>
                  </a:lnTo>
                  <a:lnTo>
                    <a:pt x="460" y="464"/>
                  </a:lnTo>
                  <a:lnTo>
                    <a:pt x="466" y="444"/>
                  </a:lnTo>
                  <a:lnTo>
                    <a:pt x="470" y="422"/>
                  </a:lnTo>
                  <a:lnTo>
                    <a:pt x="472" y="402"/>
                  </a:lnTo>
                  <a:lnTo>
                    <a:pt x="472" y="2"/>
                  </a:lnTo>
                  <a:lnTo>
                    <a:pt x="472" y="2"/>
                  </a:lnTo>
                  <a:lnTo>
                    <a:pt x="488" y="0"/>
                  </a:lnTo>
                  <a:lnTo>
                    <a:pt x="528" y="0"/>
                  </a:lnTo>
                  <a:lnTo>
                    <a:pt x="554" y="2"/>
                  </a:lnTo>
                  <a:lnTo>
                    <a:pt x="584" y="6"/>
                  </a:lnTo>
                  <a:lnTo>
                    <a:pt x="616" y="14"/>
                  </a:lnTo>
                  <a:lnTo>
                    <a:pt x="648" y="22"/>
                  </a:lnTo>
                  <a:lnTo>
                    <a:pt x="680" y="36"/>
                  </a:lnTo>
                  <a:lnTo>
                    <a:pt x="696" y="46"/>
                  </a:lnTo>
                  <a:lnTo>
                    <a:pt x="712" y="54"/>
                  </a:lnTo>
                  <a:lnTo>
                    <a:pt x="728" y="66"/>
                  </a:lnTo>
                  <a:lnTo>
                    <a:pt x="742" y="78"/>
                  </a:lnTo>
                  <a:lnTo>
                    <a:pt x="756" y="92"/>
                  </a:lnTo>
                  <a:lnTo>
                    <a:pt x="770" y="106"/>
                  </a:lnTo>
                  <a:lnTo>
                    <a:pt x="780" y="124"/>
                  </a:lnTo>
                  <a:lnTo>
                    <a:pt x="792" y="142"/>
                  </a:lnTo>
                  <a:lnTo>
                    <a:pt x="800" y="162"/>
                  </a:lnTo>
                  <a:lnTo>
                    <a:pt x="808" y="184"/>
                  </a:lnTo>
                  <a:lnTo>
                    <a:pt x="816" y="208"/>
                  </a:lnTo>
                  <a:lnTo>
                    <a:pt x="820" y="232"/>
                  </a:lnTo>
                  <a:lnTo>
                    <a:pt x="822" y="260"/>
                  </a:lnTo>
                  <a:lnTo>
                    <a:pt x="824" y="290"/>
                  </a:lnTo>
                  <a:lnTo>
                    <a:pt x="824" y="658"/>
                  </a:lnTo>
                  <a:lnTo>
                    <a:pt x="1328" y="658"/>
                  </a:lnTo>
                  <a:lnTo>
                    <a:pt x="1328" y="658"/>
                  </a:lnTo>
                  <a:lnTo>
                    <a:pt x="1338" y="660"/>
                  </a:lnTo>
                  <a:lnTo>
                    <a:pt x="1366" y="670"/>
                  </a:lnTo>
                  <a:lnTo>
                    <a:pt x="1404" y="684"/>
                  </a:lnTo>
                  <a:lnTo>
                    <a:pt x="1426" y="694"/>
                  </a:lnTo>
                  <a:lnTo>
                    <a:pt x="1448" y="706"/>
                  </a:lnTo>
                  <a:lnTo>
                    <a:pt x="1468" y="722"/>
                  </a:lnTo>
                  <a:lnTo>
                    <a:pt x="1488" y="738"/>
                  </a:lnTo>
                  <a:lnTo>
                    <a:pt x="1506" y="756"/>
                  </a:lnTo>
                  <a:lnTo>
                    <a:pt x="1520" y="776"/>
                  </a:lnTo>
                  <a:lnTo>
                    <a:pt x="1532" y="798"/>
                  </a:lnTo>
                  <a:lnTo>
                    <a:pt x="1536" y="812"/>
                  </a:lnTo>
                  <a:lnTo>
                    <a:pt x="1538" y="824"/>
                  </a:lnTo>
                  <a:lnTo>
                    <a:pt x="1540" y="838"/>
                  </a:lnTo>
                  <a:lnTo>
                    <a:pt x="1540" y="852"/>
                  </a:lnTo>
                  <a:lnTo>
                    <a:pt x="1538" y="866"/>
                  </a:lnTo>
                  <a:lnTo>
                    <a:pt x="1536" y="882"/>
                  </a:lnTo>
                  <a:lnTo>
                    <a:pt x="1536" y="882"/>
                  </a:lnTo>
                  <a:close/>
                </a:path>
              </a:pathLst>
            </a:custGeom>
            <a:grpFill/>
            <a:ln w="28575">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Ubuntu" panose="020B0504030602030204" pitchFamily="34" charset="0"/>
                <a:ea typeface="+mn-ea"/>
                <a:cs typeface="+mn-cs"/>
              </a:endParaRPr>
            </a:p>
          </p:txBody>
        </p:sp>
        <p:grpSp>
          <p:nvGrpSpPr>
            <p:cNvPr id="32" name="Groupe 13">
              <a:extLst>
                <a:ext uri="{FF2B5EF4-FFF2-40B4-BE49-F238E27FC236}">
                  <a16:creationId xmlns:a16="http://schemas.microsoft.com/office/drawing/2014/main" id="{0716F664-E16B-43B6-BF23-19037C14F716}"/>
                </a:ext>
              </a:extLst>
            </p:cNvPr>
            <p:cNvGrpSpPr>
              <a:grpSpLocks noChangeAspect="1"/>
            </p:cNvGrpSpPr>
            <p:nvPr/>
          </p:nvGrpSpPr>
          <p:grpSpPr>
            <a:xfrm>
              <a:off x="814408" y="1977820"/>
              <a:ext cx="52018" cy="177225"/>
              <a:chOff x="-687930" y="3942515"/>
              <a:chExt cx="120467" cy="410428"/>
            </a:xfrm>
            <a:grpFill/>
          </p:grpSpPr>
          <p:sp>
            <p:nvSpPr>
              <p:cNvPr id="33" name="Freeform 115">
                <a:extLst>
                  <a:ext uri="{FF2B5EF4-FFF2-40B4-BE49-F238E27FC236}">
                    <a16:creationId xmlns:a16="http://schemas.microsoft.com/office/drawing/2014/main" id="{0578DB0F-B455-4BA1-B7DB-8B28A0759033}"/>
                  </a:ext>
                </a:extLst>
              </p:cNvPr>
              <p:cNvSpPr>
                <a:spLocks/>
              </p:cNvSpPr>
              <p:nvPr/>
            </p:nvSpPr>
            <p:spPr bwMode="auto">
              <a:xfrm>
                <a:off x="-671121" y="3942515"/>
                <a:ext cx="86848" cy="284359"/>
              </a:xfrm>
              <a:custGeom>
                <a:avLst/>
                <a:gdLst>
                  <a:gd name="T0" fmla="*/ 0 w 26"/>
                  <a:gd name="T1" fmla="*/ 12 h 86"/>
                  <a:gd name="T2" fmla="*/ 26 w 26"/>
                  <a:gd name="T3" fmla="*/ 9 h 86"/>
                  <a:gd name="T4" fmla="*/ 26 w 26"/>
                  <a:gd name="T5" fmla="*/ 38 h 86"/>
                  <a:gd name="T6" fmla="*/ 25 w 26"/>
                  <a:gd name="T7" fmla="*/ 63 h 86"/>
                  <a:gd name="T8" fmla="*/ 22 w 26"/>
                  <a:gd name="T9" fmla="*/ 86 h 86"/>
                  <a:gd name="T10" fmla="*/ 4 w 26"/>
                  <a:gd name="T11" fmla="*/ 86 h 86"/>
                  <a:gd name="T12" fmla="*/ 1 w 26"/>
                  <a:gd name="T13" fmla="*/ 63 h 86"/>
                  <a:gd name="T14" fmla="*/ 0 w 26"/>
                  <a:gd name="T15" fmla="*/ 38 h 86"/>
                  <a:gd name="T16" fmla="*/ 0 w 26"/>
                  <a:gd name="T17" fmla="*/ 16 h 86"/>
                  <a:gd name="T18" fmla="*/ 0 w 26"/>
                  <a:gd name="T19" fmla="*/ 1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86">
                    <a:moveTo>
                      <a:pt x="0" y="12"/>
                    </a:moveTo>
                    <a:cubicBezTo>
                      <a:pt x="0" y="0"/>
                      <a:pt x="25" y="9"/>
                      <a:pt x="26" y="9"/>
                    </a:cubicBezTo>
                    <a:cubicBezTo>
                      <a:pt x="26" y="11"/>
                      <a:pt x="26" y="38"/>
                      <a:pt x="26" y="38"/>
                    </a:cubicBezTo>
                    <a:cubicBezTo>
                      <a:pt x="26" y="47"/>
                      <a:pt x="26" y="55"/>
                      <a:pt x="25" y="63"/>
                    </a:cubicBezTo>
                    <a:cubicBezTo>
                      <a:pt x="24" y="70"/>
                      <a:pt x="23" y="78"/>
                      <a:pt x="22" y="86"/>
                    </a:cubicBezTo>
                    <a:cubicBezTo>
                      <a:pt x="4" y="86"/>
                      <a:pt x="4" y="86"/>
                      <a:pt x="4" y="86"/>
                    </a:cubicBezTo>
                    <a:cubicBezTo>
                      <a:pt x="2" y="78"/>
                      <a:pt x="2" y="70"/>
                      <a:pt x="1" y="63"/>
                    </a:cubicBezTo>
                    <a:cubicBezTo>
                      <a:pt x="0" y="55"/>
                      <a:pt x="0" y="47"/>
                      <a:pt x="0" y="38"/>
                    </a:cubicBezTo>
                    <a:cubicBezTo>
                      <a:pt x="0" y="16"/>
                      <a:pt x="0" y="16"/>
                      <a:pt x="0" y="16"/>
                    </a:cubicBezTo>
                    <a:cubicBezTo>
                      <a:pt x="0" y="16"/>
                      <a:pt x="0" y="19"/>
                      <a:pt x="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Ubuntu" panose="020B0504030602030204" pitchFamily="34" charset="0"/>
                  <a:ea typeface="+mn-ea"/>
                  <a:cs typeface="+mn-cs"/>
                </a:endParaRPr>
              </a:p>
            </p:txBody>
          </p:sp>
          <p:sp>
            <p:nvSpPr>
              <p:cNvPr id="34" name="Freeform 116">
                <a:extLst>
                  <a:ext uri="{FF2B5EF4-FFF2-40B4-BE49-F238E27FC236}">
                    <a16:creationId xmlns:a16="http://schemas.microsoft.com/office/drawing/2014/main" id="{D4270DBD-A41B-413A-A579-CAEF48AB140E}"/>
                  </a:ext>
                </a:extLst>
              </p:cNvPr>
              <p:cNvSpPr>
                <a:spLocks/>
              </p:cNvSpPr>
              <p:nvPr/>
            </p:nvSpPr>
            <p:spPr bwMode="auto">
              <a:xfrm>
                <a:off x="-687930" y="4243682"/>
                <a:ext cx="120467" cy="109261"/>
              </a:xfrm>
              <a:custGeom>
                <a:avLst/>
                <a:gdLst>
                  <a:gd name="T0" fmla="*/ 5 w 36"/>
                  <a:gd name="T1" fmla="*/ 25 h 33"/>
                  <a:gd name="T2" fmla="*/ 9 w 36"/>
                  <a:gd name="T3" fmla="*/ 5 h 33"/>
                  <a:gd name="T4" fmla="*/ 30 w 36"/>
                  <a:gd name="T5" fmla="*/ 8 h 33"/>
                  <a:gd name="T6" fmla="*/ 27 w 36"/>
                  <a:gd name="T7" fmla="*/ 28 h 33"/>
                  <a:gd name="T8" fmla="*/ 5 w 36"/>
                  <a:gd name="T9" fmla="*/ 25 h 33"/>
                </a:gdLst>
                <a:ahLst/>
                <a:cxnLst>
                  <a:cxn ang="0">
                    <a:pos x="T0" y="T1"/>
                  </a:cxn>
                  <a:cxn ang="0">
                    <a:pos x="T2" y="T3"/>
                  </a:cxn>
                  <a:cxn ang="0">
                    <a:pos x="T4" y="T5"/>
                  </a:cxn>
                  <a:cxn ang="0">
                    <a:pos x="T6" y="T7"/>
                  </a:cxn>
                  <a:cxn ang="0">
                    <a:pos x="T8" y="T9"/>
                  </a:cxn>
                </a:cxnLst>
                <a:rect l="0" t="0" r="r" b="b"/>
                <a:pathLst>
                  <a:path w="36" h="33">
                    <a:moveTo>
                      <a:pt x="5" y="25"/>
                    </a:moveTo>
                    <a:cubicBezTo>
                      <a:pt x="0" y="19"/>
                      <a:pt x="2" y="9"/>
                      <a:pt x="9" y="5"/>
                    </a:cubicBezTo>
                    <a:cubicBezTo>
                      <a:pt x="16" y="0"/>
                      <a:pt x="25" y="1"/>
                      <a:pt x="30" y="8"/>
                    </a:cubicBezTo>
                    <a:cubicBezTo>
                      <a:pt x="36" y="14"/>
                      <a:pt x="33" y="23"/>
                      <a:pt x="27" y="28"/>
                    </a:cubicBezTo>
                    <a:cubicBezTo>
                      <a:pt x="20" y="33"/>
                      <a:pt x="10" y="32"/>
                      <a:pt x="5"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Ubuntu" panose="020B0504030602030204" pitchFamily="34" charset="0"/>
                  <a:ea typeface="+mn-ea"/>
                  <a:cs typeface="+mn-cs"/>
                </a:endParaRPr>
              </a:p>
            </p:txBody>
          </p:sp>
        </p:grpSp>
      </p:grpSp>
      <p:sp>
        <p:nvSpPr>
          <p:cNvPr id="35" name="TextBox 34">
            <a:extLst>
              <a:ext uri="{FF2B5EF4-FFF2-40B4-BE49-F238E27FC236}">
                <a16:creationId xmlns:a16="http://schemas.microsoft.com/office/drawing/2014/main" id="{18AE2A94-F697-404B-9643-0E79321E3699}"/>
              </a:ext>
            </a:extLst>
          </p:cNvPr>
          <p:cNvSpPr txBox="1">
            <a:spLocks/>
          </p:cNvSpPr>
          <p:nvPr/>
        </p:nvSpPr>
        <p:spPr>
          <a:xfrm>
            <a:off x="851635" y="3041506"/>
            <a:ext cx="6341645" cy="1692771"/>
          </a:xfrm>
          <a:prstGeom prst="rect">
            <a:avLst/>
          </a:prstGeom>
          <a:noFill/>
        </p:spPr>
        <p:txBody>
          <a:bodyPr wrap="square" lIns="0" tIns="0" rIns="0" bIns="0" rtlCol="0">
            <a:spAutoFit/>
          </a:bodyPr>
          <a:lstStyle/>
          <a:p>
            <a:pPr marL="171450" marR="0" lvl="0" indent="-171450" algn="l" defTabSz="914400" rtl="0" eaLnBrk="1" fontAlgn="auto" latinLnBrk="0" hangingPunct="1">
              <a:lnSpc>
                <a:spcPct val="100000"/>
              </a:lnSpc>
              <a:spcBef>
                <a:spcPts val="100"/>
              </a:spcBef>
              <a:spcAft>
                <a:spcPts val="200"/>
              </a:spcAft>
              <a:buClr>
                <a:srgbClr val="0070AD"/>
              </a:buClr>
              <a:buSzTx/>
              <a:buFont typeface="Wingdings" panose="05000000000000000000" pitchFamily="2" charset="2"/>
              <a:buChar char="§"/>
              <a:tabLst/>
              <a:defRPr/>
            </a:pPr>
            <a:r>
              <a:rPr kumimoji="0" lang="en-IN" sz="1000" b="0" i="0" u="none" strike="noStrike" kern="1200" cap="none" spc="0" normalizeH="0" baseline="0" noProof="0">
                <a:ln>
                  <a:noFill/>
                </a:ln>
                <a:solidFill>
                  <a:prstClr val="black"/>
                </a:solidFill>
                <a:effectLst/>
                <a:uLnTx/>
                <a:uFillTx/>
                <a:latin typeface="Ubuntu Medium"/>
                <a:ea typeface="+mn-ea"/>
                <a:cs typeface="+mn-cs"/>
              </a:rPr>
              <a:t>Conducted a blueprinting exercise with the customer to understand the functionality of the products in scope for: product configuration, underwriting, group implementation, enrolment, amendments, endorsements, renewals, billing, distribution management and integration with peripheral systems.</a:t>
            </a:r>
          </a:p>
          <a:p>
            <a:pPr marL="171450" marR="0" lvl="0" indent="-171450" algn="l" defTabSz="914400" rtl="0" eaLnBrk="1" fontAlgn="auto" latinLnBrk="0" hangingPunct="1">
              <a:lnSpc>
                <a:spcPct val="100000"/>
              </a:lnSpc>
              <a:spcBef>
                <a:spcPts val="100"/>
              </a:spcBef>
              <a:spcAft>
                <a:spcPts val="200"/>
              </a:spcAft>
              <a:buClr>
                <a:srgbClr val="0070AD"/>
              </a:buClr>
              <a:buSzTx/>
              <a:buFont typeface="Wingdings" panose="05000000000000000000" pitchFamily="2" charset="2"/>
              <a:buChar char="§"/>
              <a:tabLst/>
              <a:defRPr/>
            </a:pPr>
            <a:r>
              <a:rPr kumimoji="0" lang="en-IN" sz="1000" b="0" i="0" u="none" strike="noStrike" kern="1200" cap="none" spc="0" normalizeH="0" baseline="0" noProof="0">
                <a:ln>
                  <a:noFill/>
                </a:ln>
                <a:solidFill>
                  <a:prstClr val="black"/>
                </a:solidFill>
                <a:effectLst/>
                <a:uLnTx/>
                <a:uFillTx/>
                <a:latin typeface="Ubuntu Medium"/>
                <a:ea typeface="+mn-ea"/>
                <a:cs typeface="+mn-cs"/>
              </a:rPr>
              <a:t>Outcome of the blueprinting exercise was a Gap register to identify what can be implemented using OOTB  functionality and customization needed to be the base Majesco system.</a:t>
            </a:r>
          </a:p>
          <a:p>
            <a:pPr marL="171450" marR="0" lvl="0" indent="-171450" algn="l" defTabSz="914400" rtl="0" eaLnBrk="1" fontAlgn="auto" latinLnBrk="0" hangingPunct="1">
              <a:lnSpc>
                <a:spcPct val="100000"/>
              </a:lnSpc>
              <a:spcBef>
                <a:spcPts val="100"/>
              </a:spcBef>
              <a:spcAft>
                <a:spcPts val="200"/>
              </a:spcAft>
              <a:buClr>
                <a:srgbClr val="0070AD"/>
              </a:buClr>
              <a:buSzTx/>
              <a:buFont typeface="Wingdings" panose="05000000000000000000" pitchFamily="2" charset="2"/>
              <a:buChar char="§"/>
              <a:tabLst/>
              <a:defRPr/>
            </a:pPr>
            <a:r>
              <a:rPr kumimoji="0" lang="en-IN" sz="1000" b="0" i="0" u="none" strike="noStrike" kern="1200" cap="none" spc="0" normalizeH="0" baseline="0" noProof="0">
                <a:ln>
                  <a:noFill/>
                </a:ln>
                <a:solidFill>
                  <a:prstClr val="black"/>
                </a:solidFill>
                <a:effectLst/>
                <a:uLnTx/>
                <a:uFillTx/>
                <a:latin typeface="Ubuntu Medium"/>
                <a:ea typeface="+mn-ea"/>
                <a:cs typeface="+mn-cs"/>
              </a:rPr>
              <a:t>Underwriting rules were revised to include new parameters, rating changes for NB and Renewals, tested and incorporated as OOTB functionality.</a:t>
            </a:r>
          </a:p>
          <a:p>
            <a:pPr marL="171450" marR="0" lvl="0" indent="-171450" algn="l" defTabSz="914400" rtl="0" eaLnBrk="1" fontAlgn="auto" latinLnBrk="0" hangingPunct="1">
              <a:lnSpc>
                <a:spcPct val="100000"/>
              </a:lnSpc>
              <a:spcBef>
                <a:spcPts val="100"/>
              </a:spcBef>
              <a:spcAft>
                <a:spcPts val="200"/>
              </a:spcAft>
              <a:buClr>
                <a:srgbClr val="0070AD"/>
              </a:buClr>
              <a:buSzTx/>
              <a:buFont typeface="Wingdings" panose="05000000000000000000" pitchFamily="2" charset="2"/>
              <a:buChar char="§"/>
              <a:tabLst/>
              <a:defRPr/>
            </a:pPr>
            <a:r>
              <a:rPr kumimoji="0" lang="en-IN" sz="1000" b="0" i="0" u="none" strike="noStrike" kern="1200" cap="none" spc="0" normalizeH="0" baseline="0" noProof="0">
                <a:ln>
                  <a:noFill/>
                </a:ln>
                <a:solidFill>
                  <a:prstClr val="black"/>
                </a:solidFill>
                <a:effectLst/>
                <a:uLnTx/>
                <a:uFillTx/>
                <a:latin typeface="Ubuntu Medium"/>
                <a:ea typeface="+mn-ea"/>
                <a:cs typeface="+mn-cs"/>
              </a:rPr>
              <a:t>Functionality and required customization were grouped into 2 phases based on criticality.</a:t>
            </a:r>
          </a:p>
          <a:p>
            <a:pPr marL="171450" marR="0" lvl="0" indent="-171450" algn="l" defTabSz="914400" rtl="0" eaLnBrk="1" fontAlgn="auto" latinLnBrk="0" hangingPunct="1">
              <a:lnSpc>
                <a:spcPct val="100000"/>
              </a:lnSpc>
              <a:spcBef>
                <a:spcPts val="100"/>
              </a:spcBef>
              <a:spcAft>
                <a:spcPts val="200"/>
              </a:spcAft>
              <a:buClr>
                <a:srgbClr val="0070AD"/>
              </a:buClr>
              <a:buSzTx/>
              <a:buFont typeface="Wingdings" panose="05000000000000000000" pitchFamily="2" charset="2"/>
              <a:buChar char="§"/>
              <a:tabLst/>
              <a:defRPr/>
            </a:pPr>
            <a:r>
              <a:rPr kumimoji="0" lang="en-IN" sz="1000" b="0" i="0" u="none" strike="noStrike" kern="1200" cap="none" spc="0" normalizeH="0" baseline="0" noProof="0">
                <a:ln>
                  <a:noFill/>
                </a:ln>
                <a:solidFill>
                  <a:prstClr val="black"/>
                </a:solidFill>
                <a:effectLst/>
                <a:uLnTx/>
                <a:uFillTx/>
                <a:latin typeface="Ubuntu Medium"/>
                <a:ea typeface="+mn-ea"/>
                <a:cs typeface="+mn-cs"/>
              </a:rPr>
              <a:t>The project was executed in </a:t>
            </a:r>
            <a:r>
              <a:rPr kumimoji="0" lang="en-IN" sz="1000" b="1" i="0" u="none" strike="noStrike" kern="1200" cap="none" spc="0" normalizeH="0" baseline="0" noProof="0">
                <a:ln>
                  <a:noFill/>
                </a:ln>
                <a:solidFill>
                  <a:prstClr val="black"/>
                </a:solidFill>
                <a:effectLst/>
                <a:uLnTx/>
                <a:uFillTx/>
                <a:latin typeface="Ubuntu Medium"/>
                <a:ea typeface="+mn-ea"/>
                <a:cs typeface="+mn-cs"/>
              </a:rPr>
              <a:t>FP, Agile mode</a:t>
            </a:r>
            <a:r>
              <a:rPr kumimoji="0" lang="en-IN" sz="1000" b="0" i="0" u="none" strike="noStrike" kern="1200" cap="none" spc="0" normalizeH="0" baseline="0" noProof="0">
                <a:ln>
                  <a:noFill/>
                </a:ln>
                <a:solidFill>
                  <a:prstClr val="black"/>
                </a:solidFill>
                <a:effectLst/>
                <a:uLnTx/>
                <a:uFillTx/>
                <a:latin typeface="Ubuntu Medium"/>
                <a:ea typeface="+mn-ea"/>
                <a:cs typeface="+mn-cs"/>
              </a:rPr>
              <a:t>. Development for Phase-1 was completed in 25 sprints (1 sprint = 2 weeks). Post SIT and UAT, functionality was deployed in production. </a:t>
            </a:r>
          </a:p>
        </p:txBody>
      </p:sp>
      <p:grpSp>
        <p:nvGrpSpPr>
          <p:cNvPr id="7" name="Group 6">
            <a:extLst>
              <a:ext uri="{FF2B5EF4-FFF2-40B4-BE49-F238E27FC236}">
                <a16:creationId xmlns:a16="http://schemas.microsoft.com/office/drawing/2014/main" id="{F80BF641-28DA-49F6-B4F5-B37C0FF2B94D}"/>
              </a:ext>
            </a:extLst>
          </p:cNvPr>
          <p:cNvGrpSpPr/>
          <p:nvPr/>
        </p:nvGrpSpPr>
        <p:grpSpPr>
          <a:xfrm>
            <a:off x="278724" y="2530344"/>
            <a:ext cx="2640237" cy="520776"/>
            <a:chOff x="322513" y="3132432"/>
            <a:chExt cx="2640237" cy="520776"/>
          </a:xfrm>
        </p:grpSpPr>
        <p:sp>
          <p:nvSpPr>
            <p:cNvPr id="37" name="Rectangle: Top Corners Snipped 46">
              <a:extLst>
                <a:ext uri="{FF2B5EF4-FFF2-40B4-BE49-F238E27FC236}">
                  <a16:creationId xmlns:a16="http://schemas.microsoft.com/office/drawing/2014/main" id="{5C849AE4-AD2C-4BCF-81E3-D33E7EB51E46}"/>
                </a:ext>
              </a:extLst>
            </p:cNvPr>
            <p:cNvSpPr>
              <a:spLocks/>
            </p:cNvSpPr>
            <p:nvPr/>
          </p:nvSpPr>
          <p:spPr>
            <a:xfrm>
              <a:off x="783742" y="3235663"/>
              <a:ext cx="2179008" cy="322068"/>
            </a:xfrm>
            <a:prstGeom prst="rect">
              <a:avLst/>
            </a:prstGeom>
            <a:solidFill>
              <a:schemeClr val="accent2"/>
            </a:solid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prstClr val="white"/>
                  </a:solidFill>
                  <a:effectLst/>
                  <a:uLnTx/>
                  <a:uFillTx/>
                  <a:latin typeface="Ubuntu" panose="020B0504030602030204" pitchFamily="34" charset="0"/>
                  <a:ea typeface="+mn-ea"/>
                  <a:cs typeface="+mn-cs"/>
                </a:rPr>
                <a:t>    Solution</a:t>
              </a:r>
            </a:p>
          </p:txBody>
        </p:sp>
        <p:sp>
          <p:nvSpPr>
            <p:cNvPr id="38" name="Oval 37">
              <a:extLst>
                <a:ext uri="{FF2B5EF4-FFF2-40B4-BE49-F238E27FC236}">
                  <a16:creationId xmlns:a16="http://schemas.microsoft.com/office/drawing/2014/main" id="{68959B59-D403-427C-822A-3CB09134F2D3}"/>
                </a:ext>
              </a:extLst>
            </p:cNvPr>
            <p:cNvSpPr/>
            <p:nvPr/>
          </p:nvSpPr>
          <p:spPr>
            <a:xfrm>
              <a:off x="322513" y="3132432"/>
              <a:ext cx="520776" cy="520776"/>
            </a:xfrm>
            <a:prstGeom prst="ellipse">
              <a:avLst/>
            </a:prstGeom>
            <a:solidFill>
              <a:schemeClr val="accent1">
                <a:lumMod val="7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Ubuntu" panose="020B0504030602030204" pitchFamily="34" charset="0"/>
                <a:ea typeface="+mn-ea"/>
                <a:cs typeface="+mn-cs"/>
              </a:endParaRPr>
            </a:p>
          </p:txBody>
        </p:sp>
        <p:grpSp>
          <p:nvGrpSpPr>
            <p:cNvPr id="39" name="Group 148">
              <a:extLst>
                <a:ext uri="{FF2B5EF4-FFF2-40B4-BE49-F238E27FC236}">
                  <a16:creationId xmlns:a16="http://schemas.microsoft.com/office/drawing/2014/main" id="{B1CCC848-FD98-46C3-B4F9-6FCA5D91785E}"/>
                </a:ext>
              </a:extLst>
            </p:cNvPr>
            <p:cNvGrpSpPr/>
            <p:nvPr/>
          </p:nvGrpSpPr>
          <p:grpSpPr>
            <a:xfrm>
              <a:off x="403340" y="3258953"/>
              <a:ext cx="319043" cy="267739"/>
              <a:chOff x="6024422" y="2090478"/>
              <a:chExt cx="1035584" cy="869053"/>
            </a:xfrm>
            <a:solidFill>
              <a:schemeClr val="bg1"/>
            </a:solidFill>
          </p:grpSpPr>
          <p:sp>
            <p:nvSpPr>
              <p:cNvPr id="40" name="Freeform 26">
                <a:extLst>
                  <a:ext uri="{FF2B5EF4-FFF2-40B4-BE49-F238E27FC236}">
                    <a16:creationId xmlns:a16="http://schemas.microsoft.com/office/drawing/2014/main" id="{81713820-C35E-4647-9BF5-D90995D6838D}"/>
                  </a:ext>
                </a:extLst>
              </p:cNvPr>
              <p:cNvSpPr>
                <a:spLocks/>
              </p:cNvSpPr>
              <p:nvPr/>
            </p:nvSpPr>
            <p:spPr bwMode="auto">
              <a:xfrm>
                <a:off x="6603790" y="2493517"/>
                <a:ext cx="456216" cy="466014"/>
              </a:xfrm>
              <a:custGeom>
                <a:avLst/>
                <a:gdLst>
                  <a:gd name="T0" fmla="*/ 699 w 749"/>
                  <a:gd name="T1" fmla="*/ 441 h 763"/>
                  <a:gd name="T2" fmla="*/ 260 w 749"/>
                  <a:gd name="T3" fmla="*/ 0 h 763"/>
                  <a:gd name="T4" fmla="*/ 204 w 749"/>
                  <a:gd name="T5" fmla="*/ 96 h 763"/>
                  <a:gd name="T6" fmla="*/ 599 w 749"/>
                  <a:gd name="T7" fmla="*/ 493 h 763"/>
                  <a:gd name="T8" fmla="*/ 599 w 749"/>
                  <a:gd name="T9" fmla="*/ 540 h 763"/>
                  <a:gd name="T10" fmla="*/ 575 w 749"/>
                  <a:gd name="T11" fmla="*/ 549 h 763"/>
                  <a:gd name="T12" fmla="*/ 552 w 749"/>
                  <a:gd name="T13" fmla="*/ 540 h 763"/>
                  <a:gd name="T14" fmla="*/ 161 w 749"/>
                  <a:gd name="T15" fmla="*/ 146 h 763"/>
                  <a:gd name="T16" fmla="*/ 159 w 749"/>
                  <a:gd name="T17" fmla="*/ 149 h 763"/>
                  <a:gd name="T18" fmla="*/ 159 w 749"/>
                  <a:gd name="T19" fmla="*/ 149 h 763"/>
                  <a:gd name="T20" fmla="*/ 0 w 749"/>
                  <a:gd name="T21" fmla="*/ 254 h 763"/>
                  <a:gd name="T22" fmla="*/ 4 w 749"/>
                  <a:gd name="T23" fmla="*/ 367 h 763"/>
                  <a:gd name="T24" fmla="*/ 45 w 749"/>
                  <a:gd name="T25" fmla="*/ 409 h 763"/>
                  <a:gd name="T26" fmla="*/ 172 w 749"/>
                  <a:gd name="T27" fmla="*/ 414 h 763"/>
                  <a:gd name="T28" fmla="*/ 176 w 749"/>
                  <a:gd name="T29" fmla="*/ 540 h 763"/>
                  <a:gd name="T30" fmla="*/ 218 w 749"/>
                  <a:gd name="T31" fmla="*/ 582 h 763"/>
                  <a:gd name="T32" fmla="*/ 344 w 749"/>
                  <a:gd name="T33" fmla="*/ 587 h 763"/>
                  <a:gd name="T34" fmla="*/ 348 w 749"/>
                  <a:gd name="T35" fmla="*/ 713 h 763"/>
                  <a:gd name="T36" fmla="*/ 361 w 749"/>
                  <a:gd name="T37" fmla="*/ 742 h 763"/>
                  <a:gd name="T38" fmla="*/ 390 w 749"/>
                  <a:gd name="T39" fmla="*/ 755 h 763"/>
                  <a:gd name="T40" fmla="*/ 557 w 749"/>
                  <a:gd name="T41" fmla="*/ 762 h 763"/>
                  <a:gd name="T42" fmla="*/ 557 w 749"/>
                  <a:gd name="T43" fmla="*/ 741 h 763"/>
                  <a:gd name="T44" fmla="*/ 557 w 749"/>
                  <a:gd name="T45" fmla="*/ 762 h 763"/>
                  <a:gd name="T46" fmla="*/ 564 w 749"/>
                  <a:gd name="T47" fmla="*/ 763 h 763"/>
                  <a:gd name="T48" fmla="*/ 697 w 749"/>
                  <a:gd name="T49" fmla="*/ 707 h 763"/>
                  <a:gd name="T50" fmla="*/ 749 w 749"/>
                  <a:gd name="T51" fmla="*/ 573 h 763"/>
                  <a:gd name="T52" fmla="*/ 699 w 749"/>
                  <a:gd name="T53" fmla="*/ 441 h 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49" h="763">
                    <a:moveTo>
                      <a:pt x="699" y="441"/>
                    </a:moveTo>
                    <a:cubicBezTo>
                      <a:pt x="659" y="401"/>
                      <a:pt x="417" y="157"/>
                      <a:pt x="260" y="0"/>
                    </a:cubicBezTo>
                    <a:cubicBezTo>
                      <a:pt x="246" y="33"/>
                      <a:pt x="227" y="66"/>
                      <a:pt x="204" y="96"/>
                    </a:cubicBezTo>
                    <a:cubicBezTo>
                      <a:pt x="599" y="493"/>
                      <a:pt x="599" y="493"/>
                      <a:pt x="599" y="493"/>
                    </a:cubicBezTo>
                    <a:cubicBezTo>
                      <a:pt x="612" y="506"/>
                      <a:pt x="611" y="527"/>
                      <a:pt x="599" y="540"/>
                    </a:cubicBezTo>
                    <a:cubicBezTo>
                      <a:pt x="592" y="546"/>
                      <a:pt x="584" y="549"/>
                      <a:pt x="575" y="549"/>
                    </a:cubicBezTo>
                    <a:cubicBezTo>
                      <a:pt x="567" y="549"/>
                      <a:pt x="558" y="546"/>
                      <a:pt x="552" y="540"/>
                    </a:cubicBezTo>
                    <a:cubicBezTo>
                      <a:pt x="161" y="146"/>
                      <a:pt x="161" y="146"/>
                      <a:pt x="161" y="146"/>
                    </a:cubicBezTo>
                    <a:cubicBezTo>
                      <a:pt x="160" y="147"/>
                      <a:pt x="159" y="148"/>
                      <a:pt x="159" y="149"/>
                    </a:cubicBezTo>
                    <a:cubicBezTo>
                      <a:pt x="159" y="149"/>
                      <a:pt x="159" y="149"/>
                      <a:pt x="159" y="149"/>
                    </a:cubicBezTo>
                    <a:cubicBezTo>
                      <a:pt x="112" y="195"/>
                      <a:pt x="58" y="230"/>
                      <a:pt x="0" y="254"/>
                    </a:cubicBezTo>
                    <a:cubicBezTo>
                      <a:pt x="4" y="367"/>
                      <a:pt x="4" y="367"/>
                      <a:pt x="4" y="367"/>
                    </a:cubicBezTo>
                    <a:cubicBezTo>
                      <a:pt x="5" y="389"/>
                      <a:pt x="23" y="408"/>
                      <a:pt x="45" y="409"/>
                    </a:cubicBezTo>
                    <a:cubicBezTo>
                      <a:pt x="172" y="414"/>
                      <a:pt x="172" y="414"/>
                      <a:pt x="172" y="414"/>
                    </a:cubicBezTo>
                    <a:cubicBezTo>
                      <a:pt x="176" y="540"/>
                      <a:pt x="176" y="540"/>
                      <a:pt x="176" y="540"/>
                    </a:cubicBezTo>
                    <a:cubicBezTo>
                      <a:pt x="177" y="563"/>
                      <a:pt x="195" y="581"/>
                      <a:pt x="218" y="582"/>
                    </a:cubicBezTo>
                    <a:cubicBezTo>
                      <a:pt x="344" y="587"/>
                      <a:pt x="344" y="587"/>
                      <a:pt x="344" y="587"/>
                    </a:cubicBezTo>
                    <a:cubicBezTo>
                      <a:pt x="348" y="713"/>
                      <a:pt x="348" y="713"/>
                      <a:pt x="348" y="713"/>
                    </a:cubicBezTo>
                    <a:cubicBezTo>
                      <a:pt x="348" y="724"/>
                      <a:pt x="353" y="735"/>
                      <a:pt x="361" y="742"/>
                    </a:cubicBezTo>
                    <a:cubicBezTo>
                      <a:pt x="368" y="750"/>
                      <a:pt x="378" y="755"/>
                      <a:pt x="390" y="755"/>
                    </a:cubicBezTo>
                    <a:cubicBezTo>
                      <a:pt x="389" y="755"/>
                      <a:pt x="526" y="761"/>
                      <a:pt x="557" y="762"/>
                    </a:cubicBezTo>
                    <a:cubicBezTo>
                      <a:pt x="557" y="741"/>
                      <a:pt x="557" y="741"/>
                      <a:pt x="557" y="741"/>
                    </a:cubicBezTo>
                    <a:cubicBezTo>
                      <a:pt x="557" y="762"/>
                      <a:pt x="557" y="762"/>
                      <a:pt x="557" y="762"/>
                    </a:cubicBezTo>
                    <a:cubicBezTo>
                      <a:pt x="559" y="763"/>
                      <a:pt x="561" y="763"/>
                      <a:pt x="564" y="763"/>
                    </a:cubicBezTo>
                    <a:cubicBezTo>
                      <a:pt x="618" y="763"/>
                      <a:pt x="664" y="740"/>
                      <a:pt x="697" y="707"/>
                    </a:cubicBezTo>
                    <a:cubicBezTo>
                      <a:pt x="733" y="672"/>
                      <a:pt x="749" y="622"/>
                      <a:pt x="749" y="573"/>
                    </a:cubicBezTo>
                    <a:cubicBezTo>
                      <a:pt x="749" y="524"/>
                      <a:pt x="733" y="476"/>
                      <a:pt x="699" y="4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noProof="0">
                  <a:ln>
                    <a:noFill/>
                  </a:ln>
                  <a:solidFill>
                    <a:srgbClr val="000000"/>
                  </a:solidFill>
                  <a:effectLst/>
                  <a:uLnTx/>
                  <a:uFillTx/>
                  <a:latin typeface="Ubuntu" panose="020B0504030602030204" pitchFamily="34" charset="0"/>
                  <a:ea typeface="+mn-ea"/>
                  <a:cs typeface="+mn-cs"/>
                </a:endParaRPr>
              </a:p>
            </p:txBody>
          </p:sp>
          <p:sp>
            <p:nvSpPr>
              <p:cNvPr id="41" name="Freeform 27">
                <a:extLst>
                  <a:ext uri="{FF2B5EF4-FFF2-40B4-BE49-F238E27FC236}">
                    <a16:creationId xmlns:a16="http://schemas.microsoft.com/office/drawing/2014/main" id="{FD607E45-3CE4-4E27-B4E0-7B44597933CA}"/>
                  </a:ext>
                </a:extLst>
              </p:cNvPr>
              <p:cNvSpPr>
                <a:spLocks noEditPoints="1"/>
              </p:cNvSpPr>
              <p:nvPr/>
            </p:nvSpPr>
            <p:spPr bwMode="auto">
              <a:xfrm>
                <a:off x="6024422" y="2090478"/>
                <a:ext cx="740303" cy="589164"/>
              </a:xfrm>
              <a:custGeom>
                <a:avLst/>
                <a:gdLst>
                  <a:gd name="T0" fmla="*/ 1069 w 1214"/>
                  <a:gd name="T1" fmla="*/ 754 h 966"/>
                  <a:gd name="T2" fmla="*/ 1099 w 1214"/>
                  <a:gd name="T3" fmla="*/ 719 h 966"/>
                  <a:gd name="T4" fmla="*/ 1159 w 1214"/>
                  <a:gd name="T5" fmla="*/ 610 h 966"/>
                  <a:gd name="T6" fmla="*/ 1063 w 1214"/>
                  <a:gd name="T7" fmla="*/ 166 h 966"/>
                  <a:gd name="T8" fmla="*/ 466 w 1214"/>
                  <a:gd name="T9" fmla="*/ 164 h 966"/>
                  <a:gd name="T10" fmla="*/ 356 w 1214"/>
                  <a:gd name="T11" fmla="*/ 357 h 966"/>
                  <a:gd name="T12" fmla="*/ 249 w 1214"/>
                  <a:gd name="T13" fmla="*/ 429 h 966"/>
                  <a:gd name="T14" fmla="*/ 47 w 1214"/>
                  <a:gd name="T15" fmla="*/ 661 h 966"/>
                  <a:gd name="T16" fmla="*/ 16 w 1214"/>
                  <a:gd name="T17" fmla="*/ 851 h 966"/>
                  <a:gd name="T18" fmla="*/ 42 w 1214"/>
                  <a:gd name="T19" fmla="*/ 902 h 966"/>
                  <a:gd name="T20" fmla="*/ 94 w 1214"/>
                  <a:gd name="T21" fmla="*/ 944 h 966"/>
                  <a:gd name="T22" fmla="*/ 192 w 1214"/>
                  <a:gd name="T23" fmla="*/ 966 h 966"/>
                  <a:gd name="T24" fmla="*/ 541 w 1214"/>
                  <a:gd name="T25" fmla="*/ 822 h 966"/>
                  <a:gd name="T26" fmla="*/ 924 w 1214"/>
                  <a:gd name="T27" fmla="*/ 854 h 966"/>
                  <a:gd name="T28" fmla="*/ 1061 w 1214"/>
                  <a:gd name="T29" fmla="*/ 763 h 966"/>
                  <a:gd name="T30" fmla="*/ 1069 w 1214"/>
                  <a:gd name="T31" fmla="*/ 754 h 966"/>
                  <a:gd name="T32" fmla="*/ 790 w 1214"/>
                  <a:gd name="T33" fmla="*/ 470 h 966"/>
                  <a:gd name="T34" fmla="*/ 780 w 1214"/>
                  <a:gd name="T35" fmla="*/ 480 h 966"/>
                  <a:gd name="T36" fmla="*/ 776 w 1214"/>
                  <a:gd name="T37" fmla="*/ 485 h 966"/>
                  <a:gd name="T38" fmla="*/ 688 w 1214"/>
                  <a:gd name="T39" fmla="*/ 518 h 966"/>
                  <a:gd name="T40" fmla="*/ 641 w 1214"/>
                  <a:gd name="T41" fmla="*/ 510 h 966"/>
                  <a:gd name="T42" fmla="*/ 636 w 1214"/>
                  <a:gd name="T43" fmla="*/ 522 h 966"/>
                  <a:gd name="T44" fmla="*/ 470 w 1214"/>
                  <a:gd name="T45" fmla="*/ 711 h 966"/>
                  <a:gd name="T46" fmla="*/ 439 w 1214"/>
                  <a:gd name="T47" fmla="*/ 733 h 966"/>
                  <a:gd name="T48" fmla="*/ 192 w 1214"/>
                  <a:gd name="T49" fmla="*/ 834 h 966"/>
                  <a:gd name="T50" fmla="*/ 146 w 1214"/>
                  <a:gd name="T51" fmla="*/ 820 h 966"/>
                  <a:gd name="T52" fmla="*/ 149 w 1214"/>
                  <a:gd name="T53" fmla="*/ 756 h 966"/>
                  <a:gd name="T54" fmla="*/ 164 w 1214"/>
                  <a:gd name="T55" fmla="*/ 722 h 966"/>
                  <a:gd name="T56" fmla="*/ 330 w 1214"/>
                  <a:gd name="T57" fmla="*/ 533 h 966"/>
                  <a:gd name="T58" fmla="*/ 346 w 1214"/>
                  <a:gd name="T59" fmla="*/ 521 h 966"/>
                  <a:gd name="T60" fmla="*/ 391 w 1214"/>
                  <a:gd name="T61" fmla="*/ 660 h 966"/>
                  <a:gd name="T62" fmla="*/ 417 w 1214"/>
                  <a:gd name="T63" fmla="*/ 641 h 966"/>
                  <a:gd name="T64" fmla="*/ 565 w 1214"/>
                  <a:gd name="T65" fmla="*/ 480 h 966"/>
                  <a:gd name="T66" fmla="*/ 577 w 1214"/>
                  <a:gd name="T67" fmla="*/ 457 h 966"/>
                  <a:gd name="T68" fmla="*/ 561 w 1214"/>
                  <a:gd name="T69" fmla="*/ 415 h 966"/>
                  <a:gd name="T70" fmla="*/ 558 w 1214"/>
                  <a:gd name="T71" fmla="*/ 387 h 966"/>
                  <a:gd name="T72" fmla="*/ 596 w 1214"/>
                  <a:gd name="T73" fmla="*/ 295 h 966"/>
                  <a:gd name="T74" fmla="*/ 618 w 1214"/>
                  <a:gd name="T75" fmla="*/ 278 h 966"/>
                  <a:gd name="T76" fmla="*/ 679 w 1214"/>
                  <a:gd name="T77" fmla="*/ 258 h 966"/>
                  <a:gd name="T78" fmla="*/ 688 w 1214"/>
                  <a:gd name="T79" fmla="*/ 257 h 966"/>
                  <a:gd name="T80" fmla="*/ 781 w 1214"/>
                  <a:gd name="T81" fmla="*/ 296 h 966"/>
                  <a:gd name="T82" fmla="*/ 819 w 1214"/>
                  <a:gd name="T83" fmla="*/ 385 h 966"/>
                  <a:gd name="T84" fmla="*/ 790 w 1214"/>
                  <a:gd name="T85" fmla="*/ 470 h 9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14" h="966">
                    <a:moveTo>
                      <a:pt x="1069" y="754"/>
                    </a:moveTo>
                    <a:cubicBezTo>
                      <a:pt x="1080" y="743"/>
                      <a:pt x="1090" y="731"/>
                      <a:pt x="1099" y="719"/>
                    </a:cubicBezTo>
                    <a:cubicBezTo>
                      <a:pt x="1125" y="685"/>
                      <a:pt x="1145" y="649"/>
                      <a:pt x="1159" y="610"/>
                    </a:cubicBezTo>
                    <a:cubicBezTo>
                      <a:pt x="1214" y="461"/>
                      <a:pt x="1183" y="287"/>
                      <a:pt x="1063" y="166"/>
                    </a:cubicBezTo>
                    <a:cubicBezTo>
                      <a:pt x="899" y="1"/>
                      <a:pt x="632" y="0"/>
                      <a:pt x="466" y="164"/>
                    </a:cubicBezTo>
                    <a:cubicBezTo>
                      <a:pt x="411" y="220"/>
                      <a:pt x="374" y="286"/>
                      <a:pt x="356" y="357"/>
                    </a:cubicBezTo>
                    <a:cubicBezTo>
                      <a:pt x="320" y="378"/>
                      <a:pt x="284" y="402"/>
                      <a:pt x="249" y="429"/>
                    </a:cubicBezTo>
                    <a:cubicBezTo>
                      <a:pt x="160" y="498"/>
                      <a:pt x="88" y="581"/>
                      <a:pt x="47" y="661"/>
                    </a:cubicBezTo>
                    <a:cubicBezTo>
                      <a:pt x="10" y="733"/>
                      <a:pt x="0" y="798"/>
                      <a:pt x="16" y="851"/>
                    </a:cubicBezTo>
                    <a:cubicBezTo>
                      <a:pt x="21" y="870"/>
                      <a:pt x="30" y="887"/>
                      <a:pt x="42" y="902"/>
                    </a:cubicBezTo>
                    <a:cubicBezTo>
                      <a:pt x="53" y="916"/>
                      <a:pt x="70" y="932"/>
                      <a:pt x="94" y="944"/>
                    </a:cubicBezTo>
                    <a:cubicBezTo>
                      <a:pt x="118" y="957"/>
                      <a:pt x="150" y="966"/>
                      <a:pt x="192" y="966"/>
                    </a:cubicBezTo>
                    <a:cubicBezTo>
                      <a:pt x="293" y="966"/>
                      <a:pt x="423" y="912"/>
                      <a:pt x="541" y="822"/>
                    </a:cubicBezTo>
                    <a:cubicBezTo>
                      <a:pt x="657" y="894"/>
                      <a:pt x="800" y="905"/>
                      <a:pt x="924" y="854"/>
                    </a:cubicBezTo>
                    <a:cubicBezTo>
                      <a:pt x="974" y="833"/>
                      <a:pt x="1021" y="803"/>
                      <a:pt x="1061" y="763"/>
                    </a:cubicBezTo>
                    <a:cubicBezTo>
                      <a:pt x="1064" y="760"/>
                      <a:pt x="1066" y="757"/>
                      <a:pt x="1069" y="754"/>
                    </a:cubicBezTo>
                    <a:close/>
                    <a:moveTo>
                      <a:pt x="790" y="470"/>
                    </a:moveTo>
                    <a:cubicBezTo>
                      <a:pt x="787" y="473"/>
                      <a:pt x="784" y="477"/>
                      <a:pt x="780" y="480"/>
                    </a:cubicBezTo>
                    <a:cubicBezTo>
                      <a:pt x="779" y="482"/>
                      <a:pt x="777" y="483"/>
                      <a:pt x="776" y="485"/>
                    </a:cubicBezTo>
                    <a:cubicBezTo>
                      <a:pt x="752" y="506"/>
                      <a:pt x="721" y="518"/>
                      <a:pt x="688" y="518"/>
                    </a:cubicBezTo>
                    <a:cubicBezTo>
                      <a:pt x="672" y="518"/>
                      <a:pt x="656" y="515"/>
                      <a:pt x="641" y="510"/>
                    </a:cubicBezTo>
                    <a:cubicBezTo>
                      <a:pt x="640" y="514"/>
                      <a:pt x="638" y="518"/>
                      <a:pt x="636" y="522"/>
                    </a:cubicBezTo>
                    <a:cubicBezTo>
                      <a:pt x="603" y="584"/>
                      <a:pt x="543" y="653"/>
                      <a:pt x="470" y="711"/>
                    </a:cubicBezTo>
                    <a:cubicBezTo>
                      <a:pt x="460" y="718"/>
                      <a:pt x="450" y="726"/>
                      <a:pt x="439" y="733"/>
                    </a:cubicBezTo>
                    <a:cubicBezTo>
                      <a:pt x="352" y="795"/>
                      <a:pt x="258" y="834"/>
                      <a:pt x="192" y="834"/>
                    </a:cubicBezTo>
                    <a:cubicBezTo>
                      <a:pt x="170" y="834"/>
                      <a:pt x="152" y="829"/>
                      <a:pt x="146" y="820"/>
                    </a:cubicBezTo>
                    <a:cubicBezTo>
                      <a:pt x="139" y="811"/>
                      <a:pt x="138" y="789"/>
                      <a:pt x="149" y="756"/>
                    </a:cubicBezTo>
                    <a:cubicBezTo>
                      <a:pt x="153" y="746"/>
                      <a:pt x="158" y="734"/>
                      <a:pt x="164" y="722"/>
                    </a:cubicBezTo>
                    <a:cubicBezTo>
                      <a:pt x="197" y="659"/>
                      <a:pt x="257" y="590"/>
                      <a:pt x="330" y="533"/>
                    </a:cubicBezTo>
                    <a:cubicBezTo>
                      <a:pt x="336" y="529"/>
                      <a:pt x="341" y="525"/>
                      <a:pt x="346" y="521"/>
                    </a:cubicBezTo>
                    <a:cubicBezTo>
                      <a:pt x="353" y="569"/>
                      <a:pt x="367" y="616"/>
                      <a:pt x="391" y="660"/>
                    </a:cubicBezTo>
                    <a:cubicBezTo>
                      <a:pt x="400" y="654"/>
                      <a:pt x="409" y="647"/>
                      <a:pt x="417" y="641"/>
                    </a:cubicBezTo>
                    <a:cubicBezTo>
                      <a:pt x="480" y="591"/>
                      <a:pt x="532" y="534"/>
                      <a:pt x="565" y="480"/>
                    </a:cubicBezTo>
                    <a:cubicBezTo>
                      <a:pt x="570" y="472"/>
                      <a:pt x="574" y="464"/>
                      <a:pt x="577" y="457"/>
                    </a:cubicBezTo>
                    <a:cubicBezTo>
                      <a:pt x="569" y="444"/>
                      <a:pt x="564" y="430"/>
                      <a:pt x="561" y="415"/>
                    </a:cubicBezTo>
                    <a:cubicBezTo>
                      <a:pt x="559" y="406"/>
                      <a:pt x="558" y="397"/>
                      <a:pt x="558" y="387"/>
                    </a:cubicBezTo>
                    <a:cubicBezTo>
                      <a:pt x="558" y="353"/>
                      <a:pt x="571" y="320"/>
                      <a:pt x="596" y="295"/>
                    </a:cubicBezTo>
                    <a:cubicBezTo>
                      <a:pt x="603" y="289"/>
                      <a:pt x="610" y="283"/>
                      <a:pt x="618" y="278"/>
                    </a:cubicBezTo>
                    <a:cubicBezTo>
                      <a:pt x="636" y="266"/>
                      <a:pt x="657" y="259"/>
                      <a:pt x="679" y="258"/>
                    </a:cubicBezTo>
                    <a:cubicBezTo>
                      <a:pt x="682" y="257"/>
                      <a:pt x="685" y="257"/>
                      <a:pt x="688" y="257"/>
                    </a:cubicBezTo>
                    <a:cubicBezTo>
                      <a:pt x="723" y="257"/>
                      <a:pt x="756" y="271"/>
                      <a:pt x="781" y="296"/>
                    </a:cubicBezTo>
                    <a:cubicBezTo>
                      <a:pt x="805" y="321"/>
                      <a:pt x="818" y="353"/>
                      <a:pt x="819" y="385"/>
                    </a:cubicBezTo>
                    <a:cubicBezTo>
                      <a:pt x="819" y="415"/>
                      <a:pt x="810" y="445"/>
                      <a:pt x="790" y="4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noProof="0">
                  <a:ln>
                    <a:noFill/>
                  </a:ln>
                  <a:solidFill>
                    <a:srgbClr val="000000"/>
                  </a:solidFill>
                  <a:effectLst/>
                  <a:uLnTx/>
                  <a:uFillTx/>
                  <a:latin typeface="Ubuntu" panose="020B0504030602030204" pitchFamily="34" charset="0"/>
                  <a:ea typeface="+mn-ea"/>
                  <a:cs typeface="+mn-cs"/>
                </a:endParaRPr>
              </a:p>
            </p:txBody>
          </p:sp>
        </p:grpSp>
      </p:grpSp>
      <p:sp>
        <p:nvSpPr>
          <p:cNvPr id="42" name="TextBox 41">
            <a:extLst>
              <a:ext uri="{FF2B5EF4-FFF2-40B4-BE49-F238E27FC236}">
                <a16:creationId xmlns:a16="http://schemas.microsoft.com/office/drawing/2014/main" id="{0F08F3AC-8331-47DA-904E-56AAE2E666D4}"/>
              </a:ext>
            </a:extLst>
          </p:cNvPr>
          <p:cNvSpPr txBox="1">
            <a:spLocks/>
          </p:cNvSpPr>
          <p:nvPr/>
        </p:nvSpPr>
        <p:spPr>
          <a:xfrm>
            <a:off x="851635" y="5218159"/>
            <a:ext cx="6535101" cy="1269578"/>
          </a:xfrm>
          <a:prstGeom prst="rect">
            <a:avLst/>
          </a:prstGeom>
          <a:noFill/>
        </p:spPr>
        <p:txBody>
          <a:bodyPr wrap="square" lIns="0" tIns="0" rIns="0" bIns="0" rtlCol="0">
            <a:spAutoFit/>
          </a:bodyPr>
          <a:lstStyle/>
          <a:p>
            <a:pPr marL="171450" marR="0" lvl="0" indent="-171450" algn="l" defTabSz="914400" rtl="0" eaLnBrk="1" fontAlgn="auto" latinLnBrk="0" hangingPunct="1">
              <a:lnSpc>
                <a:spcPct val="100000"/>
              </a:lnSpc>
              <a:spcBef>
                <a:spcPts val="100"/>
              </a:spcBef>
              <a:spcAft>
                <a:spcPts val="200"/>
              </a:spcAft>
              <a:buClr>
                <a:srgbClr val="0070AD"/>
              </a:buClr>
              <a:buSzTx/>
              <a:buFont typeface="Wingdings" panose="05000000000000000000" pitchFamily="2" charset="2"/>
              <a:buChar char="§"/>
              <a:tabLst/>
              <a:defRPr/>
            </a:pPr>
            <a:r>
              <a:rPr kumimoji="0" lang="en-IN" sz="1000" b="0" i="0" u="none" strike="noStrike" kern="1200" cap="none" spc="0" normalizeH="0" baseline="0" noProof="0">
                <a:ln>
                  <a:noFill/>
                </a:ln>
                <a:solidFill>
                  <a:prstClr val="black"/>
                </a:solidFill>
                <a:effectLst/>
                <a:uLnTx/>
                <a:uFillTx/>
                <a:latin typeface="Ubuntu Medium"/>
                <a:ea typeface="+mn-ea"/>
                <a:cs typeface="+mn-cs"/>
              </a:rPr>
              <a:t>Improved technology footprint to enable rapid adaptation for new, innovative products or benefit plans</a:t>
            </a:r>
          </a:p>
          <a:p>
            <a:pPr marL="171450" marR="0" lvl="0" indent="-171450" algn="l" defTabSz="914400" rtl="0" eaLnBrk="1" fontAlgn="auto" latinLnBrk="0" hangingPunct="1">
              <a:lnSpc>
                <a:spcPct val="100000"/>
              </a:lnSpc>
              <a:spcBef>
                <a:spcPts val="100"/>
              </a:spcBef>
              <a:spcAft>
                <a:spcPts val="200"/>
              </a:spcAft>
              <a:buClr>
                <a:srgbClr val="0070AD"/>
              </a:buClr>
              <a:buSzTx/>
              <a:buFont typeface="Wingdings" panose="05000000000000000000" pitchFamily="2" charset="2"/>
              <a:buChar char="§"/>
              <a:tabLst/>
              <a:defRPr/>
            </a:pPr>
            <a:r>
              <a:rPr kumimoji="0" lang="en-IN" sz="1000" b="0" i="0" u="none" strike="noStrike" kern="1200" cap="none" spc="0" normalizeH="0" baseline="0" noProof="0">
                <a:ln>
                  <a:noFill/>
                </a:ln>
                <a:solidFill>
                  <a:prstClr val="black"/>
                </a:solidFill>
                <a:effectLst/>
                <a:uLnTx/>
                <a:uFillTx/>
                <a:latin typeface="Ubuntu Medium"/>
                <a:ea typeface="+mn-ea"/>
                <a:cs typeface="+mn-cs"/>
              </a:rPr>
              <a:t>Fully integrated solution on one platform with digital engagement</a:t>
            </a:r>
          </a:p>
          <a:p>
            <a:pPr marL="171450" marR="0" lvl="0" indent="-171450" algn="l" defTabSz="914400" rtl="0" eaLnBrk="1" fontAlgn="auto" latinLnBrk="0" hangingPunct="1">
              <a:lnSpc>
                <a:spcPct val="100000"/>
              </a:lnSpc>
              <a:spcBef>
                <a:spcPts val="100"/>
              </a:spcBef>
              <a:spcAft>
                <a:spcPts val="200"/>
              </a:spcAft>
              <a:buClr>
                <a:srgbClr val="0070AD"/>
              </a:buClr>
              <a:buSzTx/>
              <a:buFont typeface="Wingdings" panose="05000000000000000000" pitchFamily="2" charset="2"/>
              <a:buChar char="§"/>
              <a:tabLst/>
              <a:defRPr/>
            </a:pPr>
            <a:r>
              <a:rPr kumimoji="0" lang="en-IN" sz="1000" b="0" i="0" u="none" strike="noStrike" kern="1200" cap="none" spc="0" normalizeH="0" baseline="0" noProof="0">
                <a:ln>
                  <a:noFill/>
                </a:ln>
                <a:solidFill>
                  <a:prstClr val="black"/>
                </a:solidFill>
                <a:effectLst/>
                <a:uLnTx/>
                <a:uFillTx/>
                <a:latin typeface="Ubuntu Medium"/>
                <a:ea typeface="+mn-ea"/>
                <a:cs typeface="+mn-cs"/>
              </a:rPr>
              <a:t>Modernized platform enabling quick product development and speed to market</a:t>
            </a:r>
          </a:p>
          <a:p>
            <a:pPr marL="171450" marR="0" lvl="0" indent="-171450" algn="l" defTabSz="914400" rtl="0" eaLnBrk="1" fontAlgn="auto" latinLnBrk="0" hangingPunct="1">
              <a:lnSpc>
                <a:spcPct val="100000"/>
              </a:lnSpc>
              <a:spcBef>
                <a:spcPts val="100"/>
              </a:spcBef>
              <a:spcAft>
                <a:spcPts val="200"/>
              </a:spcAft>
              <a:buClr>
                <a:srgbClr val="0070AD"/>
              </a:buClr>
              <a:buSzTx/>
              <a:buFont typeface="Wingdings" panose="05000000000000000000" pitchFamily="2" charset="2"/>
              <a:buChar char="§"/>
              <a:tabLst/>
              <a:defRPr/>
            </a:pPr>
            <a:r>
              <a:rPr kumimoji="0" lang="en-IN" sz="1000" b="0" i="0" u="none" strike="noStrike" kern="1200" cap="none" spc="0" normalizeH="0" baseline="0" noProof="0">
                <a:ln>
                  <a:noFill/>
                </a:ln>
                <a:solidFill>
                  <a:prstClr val="black"/>
                </a:solidFill>
                <a:effectLst/>
                <a:uLnTx/>
                <a:uFillTx/>
                <a:latin typeface="Ubuntu Medium"/>
                <a:ea typeface="+mn-ea"/>
                <a:cs typeface="+mn-cs"/>
              </a:rPr>
              <a:t>Increased STP(Straight through processing) and reduced TAT(turn around times)</a:t>
            </a:r>
          </a:p>
          <a:p>
            <a:pPr marL="171450" marR="0" lvl="0" indent="-171450" algn="l" defTabSz="914400" rtl="0" eaLnBrk="1" fontAlgn="auto" latinLnBrk="0" hangingPunct="1">
              <a:lnSpc>
                <a:spcPct val="100000"/>
              </a:lnSpc>
              <a:spcBef>
                <a:spcPts val="100"/>
              </a:spcBef>
              <a:spcAft>
                <a:spcPts val="200"/>
              </a:spcAft>
              <a:buClr>
                <a:srgbClr val="0070AD"/>
              </a:buClr>
              <a:buSzTx/>
              <a:buFont typeface="Wingdings" panose="05000000000000000000" pitchFamily="2" charset="2"/>
              <a:buChar char="§"/>
              <a:tabLst/>
              <a:defRPr/>
            </a:pPr>
            <a:r>
              <a:rPr kumimoji="0" lang="en-IN" sz="1000" b="0" i="0" u="none" strike="noStrike" kern="1200" cap="none" spc="0" normalizeH="0" baseline="0" noProof="0">
                <a:ln>
                  <a:noFill/>
                </a:ln>
                <a:solidFill>
                  <a:prstClr val="black"/>
                </a:solidFill>
                <a:effectLst/>
                <a:uLnTx/>
                <a:uFillTx/>
                <a:latin typeface="Ubuntu Medium"/>
                <a:ea typeface="+mn-ea"/>
                <a:cs typeface="+mn-cs"/>
              </a:rPr>
              <a:t>The solution enables reusability of product across true Group, Voluntary, And Worksite Channels</a:t>
            </a:r>
          </a:p>
          <a:p>
            <a:pPr marL="171450" marR="0" lvl="0" indent="-171450" algn="l" defTabSz="914400" rtl="0" eaLnBrk="1" fontAlgn="auto" latinLnBrk="0" hangingPunct="1">
              <a:lnSpc>
                <a:spcPct val="100000"/>
              </a:lnSpc>
              <a:spcBef>
                <a:spcPts val="100"/>
              </a:spcBef>
              <a:spcAft>
                <a:spcPts val="200"/>
              </a:spcAft>
              <a:buClr>
                <a:srgbClr val="0070AD"/>
              </a:buClr>
              <a:buSzTx/>
              <a:buFont typeface="Wingdings" panose="05000000000000000000" pitchFamily="2" charset="2"/>
              <a:buChar char="§"/>
              <a:tabLst/>
              <a:defRPr/>
            </a:pPr>
            <a:r>
              <a:rPr kumimoji="0" lang="en-IN" sz="1000" b="0" i="0" u="none" strike="noStrike" kern="1200" cap="none" spc="0" normalizeH="0" baseline="0" noProof="0">
                <a:ln>
                  <a:noFill/>
                </a:ln>
                <a:solidFill>
                  <a:prstClr val="black"/>
                </a:solidFill>
                <a:effectLst/>
                <a:uLnTx/>
                <a:uFillTx/>
                <a:latin typeface="Ubuntu Medium"/>
                <a:ea typeface="+mn-ea"/>
                <a:cs typeface="+mn-cs"/>
              </a:rPr>
              <a:t>Future plans include implementation for Group term life, Group Disability, Group UL and Protector products</a:t>
            </a:r>
          </a:p>
        </p:txBody>
      </p:sp>
      <p:grpSp>
        <p:nvGrpSpPr>
          <p:cNvPr id="9" name="Group 8">
            <a:extLst>
              <a:ext uri="{FF2B5EF4-FFF2-40B4-BE49-F238E27FC236}">
                <a16:creationId xmlns:a16="http://schemas.microsoft.com/office/drawing/2014/main" id="{F197E89B-58AE-420F-8D66-B066C814EA94}"/>
              </a:ext>
            </a:extLst>
          </p:cNvPr>
          <p:cNvGrpSpPr/>
          <p:nvPr/>
        </p:nvGrpSpPr>
        <p:grpSpPr>
          <a:xfrm>
            <a:off x="278724" y="4716909"/>
            <a:ext cx="2640237" cy="520776"/>
            <a:chOff x="320133" y="4797658"/>
            <a:chExt cx="2640237" cy="520776"/>
          </a:xfrm>
        </p:grpSpPr>
        <p:sp>
          <p:nvSpPr>
            <p:cNvPr id="44" name="Rectangle: Top Corners Snipped 46">
              <a:extLst>
                <a:ext uri="{FF2B5EF4-FFF2-40B4-BE49-F238E27FC236}">
                  <a16:creationId xmlns:a16="http://schemas.microsoft.com/office/drawing/2014/main" id="{225A8E92-E21E-430D-88A6-8EE366C89ABB}"/>
                </a:ext>
              </a:extLst>
            </p:cNvPr>
            <p:cNvSpPr>
              <a:spLocks/>
            </p:cNvSpPr>
            <p:nvPr/>
          </p:nvSpPr>
          <p:spPr>
            <a:xfrm>
              <a:off x="781361" y="4900889"/>
              <a:ext cx="2179009" cy="309261"/>
            </a:xfrm>
            <a:prstGeom prst="rect">
              <a:avLst/>
            </a:prstGeom>
            <a:solidFill>
              <a:schemeClr val="accent2"/>
            </a:solid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prstClr val="white"/>
                  </a:solidFill>
                  <a:effectLst/>
                  <a:uLnTx/>
                  <a:uFillTx/>
                  <a:latin typeface="Ubuntu" panose="020B0504030602030204" pitchFamily="34" charset="0"/>
                  <a:ea typeface="+mn-ea"/>
                  <a:cs typeface="+mn-cs"/>
                </a:rPr>
                <a:t>     Impact</a:t>
              </a:r>
            </a:p>
          </p:txBody>
        </p:sp>
        <p:sp>
          <p:nvSpPr>
            <p:cNvPr id="45" name="Oval 44">
              <a:extLst>
                <a:ext uri="{FF2B5EF4-FFF2-40B4-BE49-F238E27FC236}">
                  <a16:creationId xmlns:a16="http://schemas.microsoft.com/office/drawing/2014/main" id="{AD111B1F-4F6A-4188-8769-7C3D037B1B4F}"/>
                </a:ext>
              </a:extLst>
            </p:cNvPr>
            <p:cNvSpPr/>
            <p:nvPr/>
          </p:nvSpPr>
          <p:spPr>
            <a:xfrm>
              <a:off x="320133" y="4797658"/>
              <a:ext cx="520776" cy="520776"/>
            </a:xfrm>
            <a:prstGeom prst="ellipse">
              <a:avLst/>
            </a:prstGeom>
            <a:solidFill>
              <a:schemeClr val="accent2">
                <a:lumMod val="50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Ubuntu" panose="020B0504030602030204" pitchFamily="34" charset="0"/>
                <a:ea typeface="+mn-ea"/>
                <a:cs typeface="+mn-cs"/>
              </a:endParaRPr>
            </a:p>
          </p:txBody>
        </p:sp>
        <p:grpSp>
          <p:nvGrpSpPr>
            <p:cNvPr id="46" name="Group 45">
              <a:extLst>
                <a:ext uri="{FF2B5EF4-FFF2-40B4-BE49-F238E27FC236}">
                  <a16:creationId xmlns:a16="http://schemas.microsoft.com/office/drawing/2014/main" id="{27326F21-18BA-4A4A-8DFB-C43BF6CBD01C}"/>
                </a:ext>
              </a:extLst>
            </p:cNvPr>
            <p:cNvGrpSpPr/>
            <p:nvPr/>
          </p:nvGrpSpPr>
          <p:grpSpPr>
            <a:xfrm>
              <a:off x="428545" y="4899759"/>
              <a:ext cx="315646" cy="316574"/>
              <a:chOff x="12988925" y="1597025"/>
              <a:chExt cx="6483350" cy="6502400"/>
            </a:xfrm>
            <a:solidFill>
              <a:schemeClr val="bg1"/>
            </a:solidFill>
          </p:grpSpPr>
          <p:sp>
            <p:nvSpPr>
              <p:cNvPr id="47" name="Freeform 135">
                <a:extLst>
                  <a:ext uri="{FF2B5EF4-FFF2-40B4-BE49-F238E27FC236}">
                    <a16:creationId xmlns:a16="http://schemas.microsoft.com/office/drawing/2014/main" id="{987ED275-C83A-44D5-BC48-3DCA320EB659}"/>
                  </a:ext>
                </a:extLst>
              </p:cNvPr>
              <p:cNvSpPr>
                <a:spLocks/>
              </p:cNvSpPr>
              <p:nvPr/>
            </p:nvSpPr>
            <p:spPr bwMode="auto">
              <a:xfrm>
                <a:off x="12988925" y="2178050"/>
                <a:ext cx="2371725" cy="2667000"/>
              </a:xfrm>
              <a:custGeom>
                <a:avLst/>
                <a:gdLst>
                  <a:gd name="T0" fmla="*/ 966 w 1494"/>
                  <a:gd name="T1" fmla="*/ 1680 h 1680"/>
                  <a:gd name="T2" fmla="*/ 928 w 1494"/>
                  <a:gd name="T3" fmla="*/ 1680 h 1680"/>
                  <a:gd name="T4" fmla="*/ 850 w 1494"/>
                  <a:gd name="T5" fmla="*/ 1670 h 1680"/>
                  <a:gd name="T6" fmla="*/ 776 w 1494"/>
                  <a:gd name="T7" fmla="*/ 1650 h 1680"/>
                  <a:gd name="T8" fmla="*/ 704 w 1494"/>
                  <a:gd name="T9" fmla="*/ 1620 h 1680"/>
                  <a:gd name="T10" fmla="*/ 638 w 1494"/>
                  <a:gd name="T11" fmla="*/ 1582 h 1680"/>
                  <a:gd name="T12" fmla="*/ 576 w 1494"/>
                  <a:gd name="T13" fmla="*/ 1536 h 1680"/>
                  <a:gd name="T14" fmla="*/ 522 w 1494"/>
                  <a:gd name="T15" fmla="*/ 1484 h 1680"/>
                  <a:gd name="T16" fmla="*/ 474 w 1494"/>
                  <a:gd name="T17" fmla="*/ 1422 h 1680"/>
                  <a:gd name="T18" fmla="*/ 452 w 1494"/>
                  <a:gd name="T19" fmla="*/ 1390 h 1680"/>
                  <a:gd name="T20" fmla="*/ 406 w 1494"/>
                  <a:gd name="T21" fmla="*/ 1310 h 1680"/>
                  <a:gd name="T22" fmla="*/ 332 w 1494"/>
                  <a:gd name="T23" fmla="*/ 1168 h 1680"/>
                  <a:gd name="T24" fmla="*/ 264 w 1494"/>
                  <a:gd name="T25" fmla="*/ 1026 h 1680"/>
                  <a:gd name="T26" fmla="*/ 204 w 1494"/>
                  <a:gd name="T27" fmla="*/ 882 h 1680"/>
                  <a:gd name="T28" fmla="*/ 152 w 1494"/>
                  <a:gd name="T29" fmla="*/ 734 h 1680"/>
                  <a:gd name="T30" fmla="*/ 106 w 1494"/>
                  <a:gd name="T31" fmla="*/ 588 h 1680"/>
                  <a:gd name="T32" fmla="*/ 68 w 1494"/>
                  <a:gd name="T33" fmla="*/ 438 h 1680"/>
                  <a:gd name="T34" fmla="*/ 38 w 1494"/>
                  <a:gd name="T35" fmla="*/ 288 h 1680"/>
                  <a:gd name="T36" fmla="*/ 16 w 1494"/>
                  <a:gd name="T37" fmla="*/ 136 h 1680"/>
                  <a:gd name="T38" fmla="*/ 780 w 1494"/>
                  <a:gd name="T39" fmla="*/ 0 h 1680"/>
                  <a:gd name="T40" fmla="*/ 274 w 1494"/>
                  <a:gd name="T41" fmla="*/ 240 h 1680"/>
                  <a:gd name="T42" fmla="*/ 286 w 1494"/>
                  <a:gd name="T43" fmla="*/ 302 h 1680"/>
                  <a:gd name="T44" fmla="*/ 312 w 1494"/>
                  <a:gd name="T45" fmla="*/ 424 h 1680"/>
                  <a:gd name="T46" fmla="*/ 344 w 1494"/>
                  <a:gd name="T47" fmla="*/ 546 h 1680"/>
                  <a:gd name="T48" fmla="*/ 382 w 1494"/>
                  <a:gd name="T49" fmla="*/ 666 h 1680"/>
                  <a:gd name="T50" fmla="*/ 424 w 1494"/>
                  <a:gd name="T51" fmla="*/ 784 h 1680"/>
                  <a:gd name="T52" fmla="*/ 472 w 1494"/>
                  <a:gd name="T53" fmla="*/ 902 h 1680"/>
                  <a:gd name="T54" fmla="*/ 526 w 1494"/>
                  <a:gd name="T55" fmla="*/ 1020 h 1680"/>
                  <a:gd name="T56" fmla="*/ 584 w 1494"/>
                  <a:gd name="T57" fmla="*/ 1134 h 1680"/>
                  <a:gd name="T58" fmla="*/ 616 w 1494"/>
                  <a:gd name="T59" fmla="*/ 1192 h 1680"/>
                  <a:gd name="T60" fmla="*/ 658 w 1494"/>
                  <a:gd name="T61" fmla="*/ 1266 h 1680"/>
                  <a:gd name="T62" fmla="*/ 686 w 1494"/>
                  <a:gd name="T63" fmla="*/ 1304 h 1680"/>
                  <a:gd name="T64" fmla="*/ 716 w 1494"/>
                  <a:gd name="T65" fmla="*/ 1340 h 1680"/>
                  <a:gd name="T66" fmla="*/ 752 w 1494"/>
                  <a:gd name="T67" fmla="*/ 1368 h 1680"/>
                  <a:gd name="T68" fmla="*/ 790 w 1494"/>
                  <a:gd name="T69" fmla="*/ 1394 h 1680"/>
                  <a:gd name="T70" fmla="*/ 830 w 1494"/>
                  <a:gd name="T71" fmla="*/ 1414 h 1680"/>
                  <a:gd name="T72" fmla="*/ 874 w 1494"/>
                  <a:gd name="T73" fmla="*/ 1428 h 1680"/>
                  <a:gd name="T74" fmla="*/ 920 w 1494"/>
                  <a:gd name="T75" fmla="*/ 1438 h 1680"/>
                  <a:gd name="T76" fmla="*/ 966 w 1494"/>
                  <a:gd name="T77" fmla="*/ 1440 h 1680"/>
                  <a:gd name="T78" fmla="*/ 1494 w 1494"/>
                  <a:gd name="T79" fmla="*/ 1680 h 1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94" h="1680">
                    <a:moveTo>
                      <a:pt x="1494" y="1680"/>
                    </a:moveTo>
                    <a:lnTo>
                      <a:pt x="966" y="1680"/>
                    </a:lnTo>
                    <a:lnTo>
                      <a:pt x="966" y="1680"/>
                    </a:lnTo>
                    <a:lnTo>
                      <a:pt x="928" y="1680"/>
                    </a:lnTo>
                    <a:lnTo>
                      <a:pt x="888" y="1676"/>
                    </a:lnTo>
                    <a:lnTo>
                      <a:pt x="850" y="1670"/>
                    </a:lnTo>
                    <a:lnTo>
                      <a:pt x="812" y="1660"/>
                    </a:lnTo>
                    <a:lnTo>
                      <a:pt x="776" y="1650"/>
                    </a:lnTo>
                    <a:lnTo>
                      <a:pt x="740" y="1636"/>
                    </a:lnTo>
                    <a:lnTo>
                      <a:pt x="704" y="1620"/>
                    </a:lnTo>
                    <a:lnTo>
                      <a:pt x="670" y="1602"/>
                    </a:lnTo>
                    <a:lnTo>
                      <a:pt x="638" y="1582"/>
                    </a:lnTo>
                    <a:lnTo>
                      <a:pt x="606" y="1560"/>
                    </a:lnTo>
                    <a:lnTo>
                      <a:pt x="576" y="1536"/>
                    </a:lnTo>
                    <a:lnTo>
                      <a:pt x="548" y="1510"/>
                    </a:lnTo>
                    <a:lnTo>
                      <a:pt x="522" y="1484"/>
                    </a:lnTo>
                    <a:lnTo>
                      <a:pt x="496" y="1454"/>
                    </a:lnTo>
                    <a:lnTo>
                      <a:pt x="474" y="1422"/>
                    </a:lnTo>
                    <a:lnTo>
                      <a:pt x="452" y="1390"/>
                    </a:lnTo>
                    <a:lnTo>
                      <a:pt x="452" y="1390"/>
                    </a:lnTo>
                    <a:lnTo>
                      <a:pt x="406" y="1310"/>
                    </a:lnTo>
                    <a:lnTo>
                      <a:pt x="406" y="1310"/>
                    </a:lnTo>
                    <a:lnTo>
                      <a:pt x="368" y="1238"/>
                    </a:lnTo>
                    <a:lnTo>
                      <a:pt x="332" y="1168"/>
                    </a:lnTo>
                    <a:lnTo>
                      <a:pt x="296" y="1098"/>
                    </a:lnTo>
                    <a:lnTo>
                      <a:pt x="264" y="1026"/>
                    </a:lnTo>
                    <a:lnTo>
                      <a:pt x="234" y="954"/>
                    </a:lnTo>
                    <a:lnTo>
                      <a:pt x="204" y="882"/>
                    </a:lnTo>
                    <a:lnTo>
                      <a:pt x="178" y="808"/>
                    </a:lnTo>
                    <a:lnTo>
                      <a:pt x="152" y="734"/>
                    </a:lnTo>
                    <a:lnTo>
                      <a:pt x="128" y="662"/>
                    </a:lnTo>
                    <a:lnTo>
                      <a:pt x="106" y="588"/>
                    </a:lnTo>
                    <a:lnTo>
                      <a:pt x="86" y="512"/>
                    </a:lnTo>
                    <a:lnTo>
                      <a:pt x="68" y="438"/>
                    </a:lnTo>
                    <a:lnTo>
                      <a:pt x="52" y="362"/>
                    </a:lnTo>
                    <a:lnTo>
                      <a:pt x="38" y="288"/>
                    </a:lnTo>
                    <a:lnTo>
                      <a:pt x="26" y="212"/>
                    </a:lnTo>
                    <a:lnTo>
                      <a:pt x="16" y="136"/>
                    </a:lnTo>
                    <a:lnTo>
                      <a:pt x="0" y="0"/>
                    </a:lnTo>
                    <a:lnTo>
                      <a:pt x="780" y="0"/>
                    </a:lnTo>
                    <a:lnTo>
                      <a:pt x="780" y="240"/>
                    </a:lnTo>
                    <a:lnTo>
                      <a:pt x="274" y="240"/>
                    </a:lnTo>
                    <a:lnTo>
                      <a:pt x="274" y="240"/>
                    </a:lnTo>
                    <a:lnTo>
                      <a:pt x="286" y="302"/>
                    </a:lnTo>
                    <a:lnTo>
                      <a:pt x="298" y="364"/>
                    </a:lnTo>
                    <a:lnTo>
                      <a:pt x="312" y="424"/>
                    </a:lnTo>
                    <a:lnTo>
                      <a:pt x="328" y="484"/>
                    </a:lnTo>
                    <a:lnTo>
                      <a:pt x="344" y="546"/>
                    </a:lnTo>
                    <a:lnTo>
                      <a:pt x="362" y="606"/>
                    </a:lnTo>
                    <a:lnTo>
                      <a:pt x="382" y="666"/>
                    </a:lnTo>
                    <a:lnTo>
                      <a:pt x="402" y="726"/>
                    </a:lnTo>
                    <a:lnTo>
                      <a:pt x="424" y="784"/>
                    </a:lnTo>
                    <a:lnTo>
                      <a:pt x="448" y="844"/>
                    </a:lnTo>
                    <a:lnTo>
                      <a:pt x="472" y="902"/>
                    </a:lnTo>
                    <a:lnTo>
                      <a:pt x="498" y="962"/>
                    </a:lnTo>
                    <a:lnTo>
                      <a:pt x="526" y="1020"/>
                    </a:lnTo>
                    <a:lnTo>
                      <a:pt x="554" y="1078"/>
                    </a:lnTo>
                    <a:lnTo>
                      <a:pt x="584" y="1134"/>
                    </a:lnTo>
                    <a:lnTo>
                      <a:pt x="616" y="1192"/>
                    </a:lnTo>
                    <a:lnTo>
                      <a:pt x="616" y="1192"/>
                    </a:lnTo>
                    <a:lnTo>
                      <a:pt x="658" y="1266"/>
                    </a:lnTo>
                    <a:lnTo>
                      <a:pt x="658" y="1266"/>
                    </a:lnTo>
                    <a:lnTo>
                      <a:pt x="672" y="1286"/>
                    </a:lnTo>
                    <a:lnTo>
                      <a:pt x="686" y="1304"/>
                    </a:lnTo>
                    <a:lnTo>
                      <a:pt x="700" y="1322"/>
                    </a:lnTo>
                    <a:lnTo>
                      <a:pt x="716" y="1340"/>
                    </a:lnTo>
                    <a:lnTo>
                      <a:pt x="734" y="1354"/>
                    </a:lnTo>
                    <a:lnTo>
                      <a:pt x="752" y="1368"/>
                    </a:lnTo>
                    <a:lnTo>
                      <a:pt x="770" y="1382"/>
                    </a:lnTo>
                    <a:lnTo>
                      <a:pt x="790" y="1394"/>
                    </a:lnTo>
                    <a:lnTo>
                      <a:pt x="810" y="1404"/>
                    </a:lnTo>
                    <a:lnTo>
                      <a:pt x="830" y="1414"/>
                    </a:lnTo>
                    <a:lnTo>
                      <a:pt x="852" y="1422"/>
                    </a:lnTo>
                    <a:lnTo>
                      <a:pt x="874" y="1428"/>
                    </a:lnTo>
                    <a:lnTo>
                      <a:pt x="898" y="1434"/>
                    </a:lnTo>
                    <a:lnTo>
                      <a:pt x="920" y="1438"/>
                    </a:lnTo>
                    <a:lnTo>
                      <a:pt x="944" y="1440"/>
                    </a:lnTo>
                    <a:lnTo>
                      <a:pt x="966" y="1440"/>
                    </a:lnTo>
                    <a:lnTo>
                      <a:pt x="1494" y="1440"/>
                    </a:lnTo>
                    <a:lnTo>
                      <a:pt x="1494" y="1680"/>
                    </a:lnTo>
                    <a:lnTo>
                      <a:pt x="1494" y="168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Ubuntu" panose="020B0504030602030204" pitchFamily="34" charset="0"/>
                  <a:ea typeface="+mn-ea"/>
                  <a:cs typeface="+mn-cs"/>
                </a:endParaRPr>
              </a:p>
            </p:txBody>
          </p:sp>
          <p:sp>
            <p:nvSpPr>
              <p:cNvPr id="48" name="Freeform 136">
                <a:extLst>
                  <a:ext uri="{FF2B5EF4-FFF2-40B4-BE49-F238E27FC236}">
                    <a16:creationId xmlns:a16="http://schemas.microsoft.com/office/drawing/2014/main" id="{BF087760-B652-4A4B-8446-75CF57BC1B38}"/>
                  </a:ext>
                </a:extLst>
              </p:cNvPr>
              <p:cNvSpPr>
                <a:spLocks/>
              </p:cNvSpPr>
              <p:nvPr/>
            </p:nvSpPr>
            <p:spPr bwMode="auto">
              <a:xfrm>
                <a:off x="13931900" y="1597025"/>
                <a:ext cx="4597400" cy="4759325"/>
              </a:xfrm>
              <a:custGeom>
                <a:avLst/>
                <a:gdLst>
                  <a:gd name="T0" fmla="*/ 2896 w 2896"/>
                  <a:gd name="T1" fmla="*/ 142 h 2998"/>
                  <a:gd name="T2" fmla="*/ 2716 w 2896"/>
                  <a:gd name="T3" fmla="*/ 110 h 2998"/>
                  <a:gd name="T4" fmla="*/ 2356 w 2896"/>
                  <a:gd name="T5" fmla="*/ 56 h 2998"/>
                  <a:gd name="T6" fmla="*/ 1994 w 2896"/>
                  <a:gd name="T7" fmla="*/ 20 h 2998"/>
                  <a:gd name="T8" fmla="*/ 1630 w 2896"/>
                  <a:gd name="T9" fmla="*/ 2 h 2998"/>
                  <a:gd name="T10" fmla="*/ 1266 w 2896"/>
                  <a:gd name="T11" fmla="*/ 2 h 2998"/>
                  <a:gd name="T12" fmla="*/ 902 w 2896"/>
                  <a:gd name="T13" fmla="*/ 20 h 2998"/>
                  <a:gd name="T14" fmla="*/ 540 w 2896"/>
                  <a:gd name="T15" fmla="*/ 56 h 2998"/>
                  <a:gd name="T16" fmla="*/ 180 w 2896"/>
                  <a:gd name="T17" fmla="*/ 110 h 2998"/>
                  <a:gd name="T18" fmla="*/ 0 w 2896"/>
                  <a:gd name="T19" fmla="*/ 142 h 2998"/>
                  <a:gd name="T20" fmla="*/ 2 w 2896"/>
                  <a:gd name="T21" fmla="*/ 222 h 2998"/>
                  <a:gd name="T22" fmla="*/ 12 w 2896"/>
                  <a:gd name="T23" fmla="*/ 382 h 2998"/>
                  <a:gd name="T24" fmla="*/ 36 w 2896"/>
                  <a:gd name="T25" fmla="*/ 542 h 2998"/>
                  <a:gd name="T26" fmla="*/ 68 w 2896"/>
                  <a:gd name="T27" fmla="*/ 702 h 2998"/>
                  <a:gd name="T28" fmla="*/ 110 w 2896"/>
                  <a:gd name="T29" fmla="*/ 858 h 2998"/>
                  <a:gd name="T30" fmla="*/ 164 w 2896"/>
                  <a:gd name="T31" fmla="*/ 1012 h 2998"/>
                  <a:gd name="T32" fmla="*/ 226 w 2896"/>
                  <a:gd name="T33" fmla="*/ 1164 h 2998"/>
                  <a:gd name="T34" fmla="*/ 296 w 2896"/>
                  <a:gd name="T35" fmla="*/ 1310 h 2998"/>
                  <a:gd name="T36" fmla="*/ 376 w 2896"/>
                  <a:gd name="T37" fmla="*/ 1452 h 2998"/>
                  <a:gd name="T38" fmla="*/ 464 w 2896"/>
                  <a:gd name="T39" fmla="*/ 1590 h 2998"/>
                  <a:gd name="T40" fmla="*/ 560 w 2896"/>
                  <a:gd name="T41" fmla="*/ 1720 h 2998"/>
                  <a:gd name="T42" fmla="*/ 664 w 2896"/>
                  <a:gd name="T43" fmla="*/ 1844 h 2998"/>
                  <a:gd name="T44" fmla="*/ 774 w 2896"/>
                  <a:gd name="T45" fmla="*/ 1960 h 2998"/>
                  <a:gd name="T46" fmla="*/ 890 w 2896"/>
                  <a:gd name="T47" fmla="*/ 2070 h 2998"/>
                  <a:gd name="T48" fmla="*/ 1012 w 2896"/>
                  <a:gd name="T49" fmla="*/ 2168 h 2998"/>
                  <a:gd name="T50" fmla="*/ 1142 w 2896"/>
                  <a:gd name="T51" fmla="*/ 2258 h 2998"/>
                  <a:gd name="T52" fmla="*/ 1208 w 2896"/>
                  <a:gd name="T53" fmla="*/ 2998 h 2998"/>
                  <a:gd name="T54" fmla="*/ 1688 w 2896"/>
                  <a:gd name="T55" fmla="*/ 2298 h 2998"/>
                  <a:gd name="T56" fmla="*/ 1754 w 2896"/>
                  <a:gd name="T57" fmla="*/ 2258 h 2998"/>
                  <a:gd name="T58" fmla="*/ 1884 w 2896"/>
                  <a:gd name="T59" fmla="*/ 2168 h 2998"/>
                  <a:gd name="T60" fmla="*/ 2006 w 2896"/>
                  <a:gd name="T61" fmla="*/ 2070 h 2998"/>
                  <a:gd name="T62" fmla="*/ 2122 w 2896"/>
                  <a:gd name="T63" fmla="*/ 1960 h 2998"/>
                  <a:gd name="T64" fmla="*/ 2232 w 2896"/>
                  <a:gd name="T65" fmla="*/ 1844 h 2998"/>
                  <a:gd name="T66" fmla="*/ 2336 w 2896"/>
                  <a:gd name="T67" fmla="*/ 1720 h 2998"/>
                  <a:gd name="T68" fmla="*/ 2432 w 2896"/>
                  <a:gd name="T69" fmla="*/ 1590 h 2998"/>
                  <a:gd name="T70" fmla="*/ 2520 w 2896"/>
                  <a:gd name="T71" fmla="*/ 1452 h 2998"/>
                  <a:gd name="T72" fmla="*/ 2600 w 2896"/>
                  <a:gd name="T73" fmla="*/ 1310 h 2998"/>
                  <a:gd name="T74" fmla="*/ 2670 w 2896"/>
                  <a:gd name="T75" fmla="*/ 1164 h 2998"/>
                  <a:gd name="T76" fmla="*/ 2732 w 2896"/>
                  <a:gd name="T77" fmla="*/ 1012 h 2998"/>
                  <a:gd name="T78" fmla="*/ 2786 w 2896"/>
                  <a:gd name="T79" fmla="*/ 858 h 2998"/>
                  <a:gd name="T80" fmla="*/ 2828 w 2896"/>
                  <a:gd name="T81" fmla="*/ 702 h 2998"/>
                  <a:gd name="T82" fmla="*/ 2860 w 2896"/>
                  <a:gd name="T83" fmla="*/ 542 h 2998"/>
                  <a:gd name="T84" fmla="*/ 2884 w 2896"/>
                  <a:gd name="T85" fmla="*/ 382 h 2998"/>
                  <a:gd name="T86" fmla="*/ 2894 w 2896"/>
                  <a:gd name="T87" fmla="*/ 222 h 2998"/>
                  <a:gd name="T88" fmla="*/ 2896 w 2896"/>
                  <a:gd name="T89" fmla="*/ 142 h 29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896" h="2998">
                    <a:moveTo>
                      <a:pt x="2896" y="142"/>
                    </a:moveTo>
                    <a:lnTo>
                      <a:pt x="2896" y="142"/>
                    </a:lnTo>
                    <a:lnTo>
                      <a:pt x="2896" y="142"/>
                    </a:lnTo>
                    <a:lnTo>
                      <a:pt x="2716" y="110"/>
                    </a:lnTo>
                    <a:lnTo>
                      <a:pt x="2536" y="80"/>
                    </a:lnTo>
                    <a:lnTo>
                      <a:pt x="2356" y="56"/>
                    </a:lnTo>
                    <a:lnTo>
                      <a:pt x="2174" y="36"/>
                    </a:lnTo>
                    <a:lnTo>
                      <a:pt x="1994" y="20"/>
                    </a:lnTo>
                    <a:lnTo>
                      <a:pt x="1812" y="8"/>
                    </a:lnTo>
                    <a:lnTo>
                      <a:pt x="1630" y="2"/>
                    </a:lnTo>
                    <a:lnTo>
                      <a:pt x="1448" y="0"/>
                    </a:lnTo>
                    <a:lnTo>
                      <a:pt x="1266" y="2"/>
                    </a:lnTo>
                    <a:lnTo>
                      <a:pt x="1084" y="8"/>
                    </a:lnTo>
                    <a:lnTo>
                      <a:pt x="902" y="20"/>
                    </a:lnTo>
                    <a:lnTo>
                      <a:pt x="722" y="36"/>
                    </a:lnTo>
                    <a:lnTo>
                      <a:pt x="540" y="56"/>
                    </a:lnTo>
                    <a:lnTo>
                      <a:pt x="360" y="80"/>
                    </a:lnTo>
                    <a:lnTo>
                      <a:pt x="180" y="110"/>
                    </a:lnTo>
                    <a:lnTo>
                      <a:pt x="0" y="142"/>
                    </a:lnTo>
                    <a:lnTo>
                      <a:pt x="0" y="142"/>
                    </a:lnTo>
                    <a:lnTo>
                      <a:pt x="0" y="142"/>
                    </a:lnTo>
                    <a:lnTo>
                      <a:pt x="2" y="222"/>
                    </a:lnTo>
                    <a:lnTo>
                      <a:pt x="6" y="302"/>
                    </a:lnTo>
                    <a:lnTo>
                      <a:pt x="12" y="382"/>
                    </a:lnTo>
                    <a:lnTo>
                      <a:pt x="22" y="462"/>
                    </a:lnTo>
                    <a:lnTo>
                      <a:pt x="36" y="542"/>
                    </a:lnTo>
                    <a:lnTo>
                      <a:pt x="50" y="622"/>
                    </a:lnTo>
                    <a:lnTo>
                      <a:pt x="68" y="702"/>
                    </a:lnTo>
                    <a:lnTo>
                      <a:pt x="88" y="780"/>
                    </a:lnTo>
                    <a:lnTo>
                      <a:pt x="110" y="858"/>
                    </a:lnTo>
                    <a:lnTo>
                      <a:pt x="136" y="936"/>
                    </a:lnTo>
                    <a:lnTo>
                      <a:pt x="164" y="1012"/>
                    </a:lnTo>
                    <a:lnTo>
                      <a:pt x="194" y="1088"/>
                    </a:lnTo>
                    <a:lnTo>
                      <a:pt x="226" y="1164"/>
                    </a:lnTo>
                    <a:lnTo>
                      <a:pt x="260" y="1238"/>
                    </a:lnTo>
                    <a:lnTo>
                      <a:pt x="296" y="1310"/>
                    </a:lnTo>
                    <a:lnTo>
                      <a:pt x="336" y="1382"/>
                    </a:lnTo>
                    <a:lnTo>
                      <a:pt x="376" y="1452"/>
                    </a:lnTo>
                    <a:lnTo>
                      <a:pt x="420" y="1522"/>
                    </a:lnTo>
                    <a:lnTo>
                      <a:pt x="464" y="1590"/>
                    </a:lnTo>
                    <a:lnTo>
                      <a:pt x="512" y="1656"/>
                    </a:lnTo>
                    <a:lnTo>
                      <a:pt x="560" y="1720"/>
                    </a:lnTo>
                    <a:lnTo>
                      <a:pt x="610" y="1784"/>
                    </a:lnTo>
                    <a:lnTo>
                      <a:pt x="664" y="1844"/>
                    </a:lnTo>
                    <a:lnTo>
                      <a:pt x="718" y="1904"/>
                    </a:lnTo>
                    <a:lnTo>
                      <a:pt x="774" y="1960"/>
                    </a:lnTo>
                    <a:lnTo>
                      <a:pt x="830" y="2016"/>
                    </a:lnTo>
                    <a:lnTo>
                      <a:pt x="890" y="2070"/>
                    </a:lnTo>
                    <a:lnTo>
                      <a:pt x="950" y="2120"/>
                    </a:lnTo>
                    <a:lnTo>
                      <a:pt x="1012" y="2168"/>
                    </a:lnTo>
                    <a:lnTo>
                      <a:pt x="1076" y="2214"/>
                    </a:lnTo>
                    <a:lnTo>
                      <a:pt x="1142" y="2258"/>
                    </a:lnTo>
                    <a:lnTo>
                      <a:pt x="1208" y="2298"/>
                    </a:lnTo>
                    <a:lnTo>
                      <a:pt x="1208" y="2998"/>
                    </a:lnTo>
                    <a:lnTo>
                      <a:pt x="1688" y="2998"/>
                    </a:lnTo>
                    <a:lnTo>
                      <a:pt x="1688" y="2298"/>
                    </a:lnTo>
                    <a:lnTo>
                      <a:pt x="1688" y="2298"/>
                    </a:lnTo>
                    <a:lnTo>
                      <a:pt x="1754" y="2258"/>
                    </a:lnTo>
                    <a:lnTo>
                      <a:pt x="1820" y="2214"/>
                    </a:lnTo>
                    <a:lnTo>
                      <a:pt x="1884" y="2168"/>
                    </a:lnTo>
                    <a:lnTo>
                      <a:pt x="1946" y="2120"/>
                    </a:lnTo>
                    <a:lnTo>
                      <a:pt x="2006" y="2070"/>
                    </a:lnTo>
                    <a:lnTo>
                      <a:pt x="2066" y="2016"/>
                    </a:lnTo>
                    <a:lnTo>
                      <a:pt x="2122" y="1960"/>
                    </a:lnTo>
                    <a:lnTo>
                      <a:pt x="2178" y="1904"/>
                    </a:lnTo>
                    <a:lnTo>
                      <a:pt x="2232" y="1844"/>
                    </a:lnTo>
                    <a:lnTo>
                      <a:pt x="2286" y="1784"/>
                    </a:lnTo>
                    <a:lnTo>
                      <a:pt x="2336" y="1720"/>
                    </a:lnTo>
                    <a:lnTo>
                      <a:pt x="2384" y="1656"/>
                    </a:lnTo>
                    <a:lnTo>
                      <a:pt x="2432" y="1590"/>
                    </a:lnTo>
                    <a:lnTo>
                      <a:pt x="2476" y="1522"/>
                    </a:lnTo>
                    <a:lnTo>
                      <a:pt x="2520" y="1452"/>
                    </a:lnTo>
                    <a:lnTo>
                      <a:pt x="2560" y="1382"/>
                    </a:lnTo>
                    <a:lnTo>
                      <a:pt x="2600" y="1310"/>
                    </a:lnTo>
                    <a:lnTo>
                      <a:pt x="2636" y="1238"/>
                    </a:lnTo>
                    <a:lnTo>
                      <a:pt x="2670" y="1164"/>
                    </a:lnTo>
                    <a:lnTo>
                      <a:pt x="2702" y="1088"/>
                    </a:lnTo>
                    <a:lnTo>
                      <a:pt x="2732" y="1012"/>
                    </a:lnTo>
                    <a:lnTo>
                      <a:pt x="2760" y="936"/>
                    </a:lnTo>
                    <a:lnTo>
                      <a:pt x="2786" y="858"/>
                    </a:lnTo>
                    <a:lnTo>
                      <a:pt x="2808" y="780"/>
                    </a:lnTo>
                    <a:lnTo>
                      <a:pt x="2828" y="702"/>
                    </a:lnTo>
                    <a:lnTo>
                      <a:pt x="2846" y="622"/>
                    </a:lnTo>
                    <a:lnTo>
                      <a:pt x="2860" y="542"/>
                    </a:lnTo>
                    <a:lnTo>
                      <a:pt x="2874" y="462"/>
                    </a:lnTo>
                    <a:lnTo>
                      <a:pt x="2884" y="382"/>
                    </a:lnTo>
                    <a:lnTo>
                      <a:pt x="2890" y="302"/>
                    </a:lnTo>
                    <a:lnTo>
                      <a:pt x="2894" y="222"/>
                    </a:lnTo>
                    <a:lnTo>
                      <a:pt x="2896" y="142"/>
                    </a:lnTo>
                    <a:lnTo>
                      <a:pt x="2896" y="142"/>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Ubuntu" panose="020B0504030602030204" pitchFamily="34" charset="0"/>
                  <a:ea typeface="+mn-ea"/>
                  <a:cs typeface="+mn-cs"/>
                </a:endParaRPr>
              </a:p>
            </p:txBody>
          </p:sp>
          <p:sp>
            <p:nvSpPr>
              <p:cNvPr id="49" name="Freeform 137">
                <a:extLst>
                  <a:ext uri="{FF2B5EF4-FFF2-40B4-BE49-F238E27FC236}">
                    <a16:creationId xmlns:a16="http://schemas.microsoft.com/office/drawing/2014/main" id="{5D52F8BF-FB70-48C3-803D-AC0493DF1B13}"/>
                  </a:ext>
                </a:extLst>
              </p:cNvPr>
              <p:cNvSpPr>
                <a:spLocks/>
              </p:cNvSpPr>
              <p:nvPr/>
            </p:nvSpPr>
            <p:spPr bwMode="auto">
              <a:xfrm>
                <a:off x="17097375" y="2178050"/>
                <a:ext cx="2374900" cy="2667000"/>
              </a:xfrm>
              <a:custGeom>
                <a:avLst/>
                <a:gdLst>
                  <a:gd name="T0" fmla="*/ 0 w 1496"/>
                  <a:gd name="T1" fmla="*/ 1680 h 1680"/>
                  <a:gd name="T2" fmla="*/ 530 w 1496"/>
                  <a:gd name="T3" fmla="*/ 1440 h 1680"/>
                  <a:gd name="T4" fmla="*/ 552 w 1496"/>
                  <a:gd name="T5" fmla="*/ 1440 h 1680"/>
                  <a:gd name="T6" fmla="*/ 598 w 1496"/>
                  <a:gd name="T7" fmla="*/ 1434 h 1680"/>
                  <a:gd name="T8" fmla="*/ 644 w 1496"/>
                  <a:gd name="T9" fmla="*/ 1422 h 1680"/>
                  <a:gd name="T10" fmla="*/ 686 w 1496"/>
                  <a:gd name="T11" fmla="*/ 1404 h 1680"/>
                  <a:gd name="T12" fmla="*/ 726 w 1496"/>
                  <a:gd name="T13" fmla="*/ 1382 h 1680"/>
                  <a:gd name="T14" fmla="*/ 762 w 1496"/>
                  <a:gd name="T15" fmla="*/ 1354 h 1680"/>
                  <a:gd name="T16" fmla="*/ 796 w 1496"/>
                  <a:gd name="T17" fmla="*/ 1322 h 1680"/>
                  <a:gd name="T18" fmla="*/ 824 w 1496"/>
                  <a:gd name="T19" fmla="*/ 1286 h 1680"/>
                  <a:gd name="T20" fmla="*/ 838 w 1496"/>
                  <a:gd name="T21" fmla="*/ 1266 h 1680"/>
                  <a:gd name="T22" fmla="*/ 880 w 1496"/>
                  <a:gd name="T23" fmla="*/ 1192 h 1680"/>
                  <a:gd name="T24" fmla="*/ 942 w 1496"/>
                  <a:gd name="T25" fmla="*/ 1078 h 1680"/>
                  <a:gd name="T26" fmla="*/ 998 w 1496"/>
                  <a:gd name="T27" fmla="*/ 962 h 1680"/>
                  <a:gd name="T28" fmla="*/ 1048 w 1496"/>
                  <a:gd name="T29" fmla="*/ 844 h 1680"/>
                  <a:gd name="T30" fmla="*/ 1094 w 1496"/>
                  <a:gd name="T31" fmla="*/ 726 h 1680"/>
                  <a:gd name="T32" fmla="*/ 1134 w 1496"/>
                  <a:gd name="T33" fmla="*/ 606 h 1680"/>
                  <a:gd name="T34" fmla="*/ 1168 w 1496"/>
                  <a:gd name="T35" fmla="*/ 484 h 1680"/>
                  <a:gd name="T36" fmla="*/ 1198 w 1496"/>
                  <a:gd name="T37" fmla="*/ 364 h 1680"/>
                  <a:gd name="T38" fmla="*/ 1222 w 1496"/>
                  <a:gd name="T39" fmla="*/ 240 h 1680"/>
                  <a:gd name="T40" fmla="*/ 716 w 1496"/>
                  <a:gd name="T41" fmla="*/ 0 h 1680"/>
                  <a:gd name="T42" fmla="*/ 1480 w 1496"/>
                  <a:gd name="T43" fmla="*/ 136 h 1680"/>
                  <a:gd name="T44" fmla="*/ 1470 w 1496"/>
                  <a:gd name="T45" fmla="*/ 212 h 1680"/>
                  <a:gd name="T46" fmla="*/ 1444 w 1496"/>
                  <a:gd name="T47" fmla="*/ 362 h 1680"/>
                  <a:gd name="T48" fmla="*/ 1410 w 1496"/>
                  <a:gd name="T49" fmla="*/ 512 h 1680"/>
                  <a:gd name="T50" fmla="*/ 1368 w 1496"/>
                  <a:gd name="T51" fmla="*/ 662 h 1680"/>
                  <a:gd name="T52" fmla="*/ 1318 w 1496"/>
                  <a:gd name="T53" fmla="*/ 808 h 1680"/>
                  <a:gd name="T54" fmla="*/ 1262 w 1496"/>
                  <a:gd name="T55" fmla="*/ 954 h 1680"/>
                  <a:gd name="T56" fmla="*/ 1200 w 1496"/>
                  <a:gd name="T57" fmla="*/ 1098 h 1680"/>
                  <a:gd name="T58" fmla="*/ 1128 w 1496"/>
                  <a:gd name="T59" fmla="*/ 1238 h 1680"/>
                  <a:gd name="T60" fmla="*/ 1090 w 1496"/>
                  <a:gd name="T61" fmla="*/ 1310 h 1680"/>
                  <a:gd name="T62" fmla="*/ 1044 w 1496"/>
                  <a:gd name="T63" fmla="*/ 1390 h 1680"/>
                  <a:gd name="T64" fmla="*/ 1000 w 1496"/>
                  <a:gd name="T65" fmla="*/ 1454 h 1680"/>
                  <a:gd name="T66" fmla="*/ 948 w 1496"/>
                  <a:gd name="T67" fmla="*/ 1510 h 1680"/>
                  <a:gd name="T68" fmla="*/ 890 w 1496"/>
                  <a:gd name="T69" fmla="*/ 1560 h 1680"/>
                  <a:gd name="T70" fmla="*/ 826 w 1496"/>
                  <a:gd name="T71" fmla="*/ 1602 h 1680"/>
                  <a:gd name="T72" fmla="*/ 756 w 1496"/>
                  <a:gd name="T73" fmla="*/ 1636 h 1680"/>
                  <a:gd name="T74" fmla="*/ 684 w 1496"/>
                  <a:gd name="T75" fmla="*/ 1660 h 1680"/>
                  <a:gd name="T76" fmla="*/ 608 w 1496"/>
                  <a:gd name="T77" fmla="*/ 1676 h 1680"/>
                  <a:gd name="T78" fmla="*/ 530 w 1496"/>
                  <a:gd name="T79" fmla="*/ 1680 h 1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96" h="1680">
                    <a:moveTo>
                      <a:pt x="530" y="1680"/>
                    </a:moveTo>
                    <a:lnTo>
                      <a:pt x="0" y="1680"/>
                    </a:lnTo>
                    <a:lnTo>
                      <a:pt x="0" y="1440"/>
                    </a:lnTo>
                    <a:lnTo>
                      <a:pt x="530" y="1440"/>
                    </a:lnTo>
                    <a:lnTo>
                      <a:pt x="530" y="1440"/>
                    </a:lnTo>
                    <a:lnTo>
                      <a:pt x="552" y="1440"/>
                    </a:lnTo>
                    <a:lnTo>
                      <a:pt x="576" y="1438"/>
                    </a:lnTo>
                    <a:lnTo>
                      <a:pt x="598" y="1434"/>
                    </a:lnTo>
                    <a:lnTo>
                      <a:pt x="622" y="1428"/>
                    </a:lnTo>
                    <a:lnTo>
                      <a:pt x="644" y="1422"/>
                    </a:lnTo>
                    <a:lnTo>
                      <a:pt x="666" y="1414"/>
                    </a:lnTo>
                    <a:lnTo>
                      <a:pt x="686" y="1404"/>
                    </a:lnTo>
                    <a:lnTo>
                      <a:pt x="706" y="1394"/>
                    </a:lnTo>
                    <a:lnTo>
                      <a:pt x="726" y="1382"/>
                    </a:lnTo>
                    <a:lnTo>
                      <a:pt x="744" y="1368"/>
                    </a:lnTo>
                    <a:lnTo>
                      <a:pt x="762" y="1354"/>
                    </a:lnTo>
                    <a:lnTo>
                      <a:pt x="780" y="1340"/>
                    </a:lnTo>
                    <a:lnTo>
                      <a:pt x="796" y="1322"/>
                    </a:lnTo>
                    <a:lnTo>
                      <a:pt x="810" y="1304"/>
                    </a:lnTo>
                    <a:lnTo>
                      <a:pt x="824" y="1286"/>
                    </a:lnTo>
                    <a:lnTo>
                      <a:pt x="838" y="1266"/>
                    </a:lnTo>
                    <a:lnTo>
                      <a:pt x="838" y="1266"/>
                    </a:lnTo>
                    <a:lnTo>
                      <a:pt x="880" y="1192"/>
                    </a:lnTo>
                    <a:lnTo>
                      <a:pt x="880" y="1192"/>
                    </a:lnTo>
                    <a:lnTo>
                      <a:pt x="912" y="1134"/>
                    </a:lnTo>
                    <a:lnTo>
                      <a:pt x="942" y="1078"/>
                    </a:lnTo>
                    <a:lnTo>
                      <a:pt x="970" y="1020"/>
                    </a:lnTo>
                    <a:lnTo>
                      <a:pt x="998" y="962"/>
                    </a:lnTo>
                    <a:lnTo>
                      <a:pt x="1024" y="902"/>
                    </a:lnTo>
                    <a:lnTo>
                      <a:pt x="1048" y="844"/>
                    </a:lnTo>
                    <a:lnTo>
                      <a:pt x="1072" y="784"/>
                    </a:lnTo>
                    <a:lnTo>
                      <a:pt x="1094" y="726"/>
                    </a:lnTo>
                    <a:lnTo>
                      <a:pt x="1114" y="666"/>
                    </a:lnTo>
                    <a:lnTo>
                      <a:pt x="1134" y="606"/>
                    </a:lnTo>
                    <a:lnTo>
                      <a:pt x="1152" y="546"/>
                    </a:lnTo>
                    <a:lnTo>
                      <a:pt x="1168" y="484"/>
                    </a:lnTo>
                    <a:lnTo>
                      <a:pt x="1184" y="424"/>
                    </a:lnTo>
                    <a:lnTo>
                      <a:pt x="1198" y="364"/>
                    </a:lnTo>
                    <a:lnTo>
                      <a:pt x="1210" y="302"/>
                    </a:lnTo>
                    <a:lnTo>
                      <a:pt x="1222" y="240"/>
                    </a:lnTo>
                    <a:lnTo>
                      <a:pt x="716" y="240"/>
                    </a:lnTo>
                    <a:lnTo>
                      <a:pt x="716" y="0"/>
                    </a:lnTo>
                    <a:lnTo>
                      <a:pt x="1496" y="0"/>
                    </a:lnTo>
                    <a:lnTo>
                      <a:pt x="1480" y="136"/>
                    </a:lnTo>
                    <a:lnTo>
                      <a:pt x="1480" y="136"/>
                    </a:lnTo>
                    <a:lnTo>
                      <a:pt x="1470" y="212"/>
                    </a:lnTo>
                    <a:lnTo>
                      <a:pt x="1458" y="288"/>
                    </a:lnTo>
                    <a:lnTo>
                      <a:pt x="1444" y="362"/>
                    </a:lnTo>
                    <a:lnTo>
                      <a:pt x="1428" y="438"/>
                    </a:lnTo>
                    <a:lnTo>
                      <a:pt x="1410" y="512"/>
                    </a:lnTo>
                    <a:lnTo>
                      <a:pt x="1390" y="588"/>
                    </a:lnTo>
                    <a:lnTo>
                      <a:pt x="1368" y="662"/>
                    </a:lnTo>
                    <a:lnTo>
                      <a:pt x="1344" y="734"/>
                    </a:lnTo>
                    <a:lnTo>
                      <a:pt x="1318" y="808"/>
                    </a:lnTo>
                    <a:lnTo>
                      <a:pt x="1292" y="882"/>
                    </a:lnTo>
                    <a:lnTo>
                      <a:pt x="1262" y="954"/>
                    </a:lnTo>
                    <a:lnTo>
                      <a:pt x="1232" y="1026"/>
                    </a:lnTo>
                    <a:lnTo>
                      <a:pt x="1200" y="1098"/>
                    </a:lnTo>
                    <a:lnTo>
                      <a:pt x="1164" y="1168"/>
                    </a:lnTo>
                    <a:lnTo>
                      <a:pt x="1128" y="1238"/>
                    </a:lnTo>
                    <a:lnTo>
                      <a:pt x="1090" y="1310"/>
                    </a:lnTo>
                    <a:lnTo>
                      <a:pt x="1090" y="1310"/>
                    </a:lnTo>
                    <a:lnTo>
                      <a:pt x="1044" y="1390"/>
                    </a:lnTo>
                    <a:lnTo>
                      <a:pt x="1044" y="1390"/>
                    </a:lnTo>
                    <a:lnTo>
                      <a:pt x="1022" y="1422"/>
                    </a:lnTo>
                    <a:lnTo>
                      <a:pt x="1000" y="1454"/>
                    </a:lnTo>
                    <a:lnTo>
                      <a:pt x="974" y="1484"/>
                    </a:lnTo>
                    <a:lnTo>
                      <a:pt x="948" y="1510"/>
                    </a:lnTo>
                    <a:lnTo>
                      <a:pt x="920" y="1536"/>
                    </a:lnTo>
                    <a:lnTo>
                      <a:pt x="890" y="1560"/>
                    </a:lnTo>
                    <a:lnTo>
                      <a:pt x="858" y="1582"/>
                    </a:lnTo>
                    <a:lnTo>
                      <a:pt x="826" y="1602"/>
                    </a:lnTo>
                    <a:lnTo>
                      <a:pt x="792" y="1620"/>
                    </a:lnTo>
                    <a:lnTo>
                      <a:pt x="756" y="1636"/>
                    </a:lnTo>
                    <a:lnTo>
                      <a:pt x="720" y="1650"/>
                    </a:lnTo>
                    <a:lnTo>
                      <a:pt x="684" y="1660"/>
                    </a:lnTo>
                    <a:lnTo>
                      <a:pt x="646" y="1670"/>
                    </a:lnTo>
                    <a:lnTo>
                      <a:pt x="608" y="1676"/>
                    </a:lnTo>
                    <a:lnTo>
                      <a:pt x="568" y="1680"/>
                    </a:lnTo>
                    <a:lnTo>
                      <a:pt x="530" y="1680"/>
                    </a:lnTo>
                    <a:lnTo>
                      <a:pt x="530" y="168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Ubuntu" panose="020B0504030602030204" pitchFamily="34" charset="0"/>
                  <a:ea typeface="+mn-ea"/>
                  <a:cs typeface="+mn-cs"/>
                </a:endParaRPr>
              </a:p>
            </p:txBody>
          </p:sp>
          <p:sp>
            <p:nvSpPr>
              <p:cNvPr id="50" name="Freeform 138">
                <a:extLst>
                  <a:ext uri="{FF2B5EF4-FFF2-40B4-BE49-F238E27FC236}">
                    <a16:creationId xmlns:a16="http://schemas.microsoft.com/office/drawing/2014/main" id="{2043EC1E-419A-45B8-A461-C5E7F2279510}"/>
                  </a:ext>
                </a:extLst>
              </p:cNvPr>
              <p:cNvSpPr>
                <a:spLocks/>
              </p:cNvSpPr>
              <p:nvPr/>
            </p:nvSpPr>
            <p:spPr bwMode="auto">
              <a:xfrm>
                <a:off x="16230600" y="1597025"/>
                <a:ext cx="2298700" cy="4759325"/>
              </a:xfrm>
              <a:custGeom>
                <a:avLst/>
                <a:gdLst>
                  <a:gd name="T0" fmla="*/ 1448 w 1448"/>
                  <a:gd name="T1" fmla="*/ 142 h 2998"/>
                  <a:gd name="T2" fmla="*/ 1448 w 1448"/>
                  <a:gd name="T3" fmla="*/ 142 h 2998"/>
                  <a:gd name="T4" fmla="*/ 1268 w 1448"/>
                  <a:gd name="T5" fmla="*/ 110 h 2998"/>
                  <a:gd name="T6" fmla="*/ 1088 w 1448"/>
                  <a:gd name="T7" fmla="*/ 80 h 2998"/>
                  <a:gd name="T8" fmla="*/ 908 w 1448"/>
                  <a:gd name="T9" fmla="*/ 56 h 2998"/>
                  <a:gd name="T10" fmla="*/ 726 w 1448"/>
                  <a:gd name="T11" fmla="*/ 36 h 2998"/>
                  <a:gd name="T12" fmla="*/ 546 w 1448"/>
                  <a:gd name="T13" fmla="*/ 20 h 2998"/>
                  <a:gd name="T14" fmla="*/ 364 w 1448"/>
                  <a:gd name="T15" fmla="*/ 8 h 2998"/>
                  <a:gd name="T16" fmla="*/ 182 w 1448"/>
                  <a:gd name="T17" fmla="*/ 2 h 2998"/>
                  <a:gd name="T18" fmla="*/ 0 w 1448"/>
                  <a:gd name="T19" fmla="*/ 0 h 2998"/>
                  <a:gd name="T20" fmla="*/ 0 w 1448"/>
                  <a:gd name="T21" fmla="*/ 2998 h 2998"/>
                  <a:gd name="T22" fmla="*/ 240 w 1448"/>
                  <a:gd name="T23" fmla="*/ 2998 h 2998"/>
                  <a:gd name="T24" fmla="*/ 240 w 1448"/>
                  <a:gd name="T25" fmla="*/ 2298 h 2998"/>
                  <a:gd name="T26" fmla="*/ 240 w 1448"/>
                  <a:gd name="T27" fmla="*/ 2298 h 2998"/>
                  <a:gd name="T28" fmla="*/ 306 w 1448"/>
                  <a:gd name="T29" fmla="*/ 2258 h 2998"/>
                  <a:gd name="T30" fmla="*/ 372 w 1448"/>
                  <a:gd name="T31" fmla="*/ 2214 h 2998"/>
                  <a:gd name="T32" fmla="*/ 436 w 1448"/>
                  <a:gd name="T33" fmla="*/ 2168 h 2998"/>
                  <a:gd name="T34" fmla="*/ 498 w 1448"/>
                  <a:gd name="T35" fmla="*/ 2120 h 2998"/>
                  <a:gd name="T36" fmla="*/ 558 w 1448"/>
                  <a:gd name="T37" fmla="*/ 2070 h 2998"/>
                  <a:gd name="T38" fmla="*/ 618 w 1448"/>
                  <a:gd name="T39" fmla="*/ 2016 h 2998"/>
                  <a:gd name="T40" fmla="*/ 674 w 1448"/>
                  <a:gd name="T41" fmla="*/ 1960 h 2998"/>
                  <a:gd name="T42" fmla="*/ 730 w 1448"/>
                  <a:gd name="T43" fmla="*/ 1904 h 2998"/>
                  <a:gd name="T44" fmla="*/ 784 w 1448"/>
                  <a:gd name="T45" fmla="*/ 1844 h 2998"/>
                  <a:gd name="T46" fmla="*/ 838 w 1448"/>
                  <a:gd name="T47" fmla="*/ 1784 h 2998"/>
                  <a:gd name="T48" fmla="*/ 888 w 1448"/>
                  <a:gd name="T49" fmla="*/ 1720 h 2998"/>
                  <a:gd name="T50" fmla="*/ 936 w 1448"/>
                  <a:gd name="T51" fmla="*/ 1656 h 2998"/>
                  <a:gd name="T52" fmla="*/ 984 w 1448"/>
                  <a:gd name="T53" fmla="*/ 1590 h 2998"/>
                  <a:gd name="T54" fmla="*/ 1028 w 1448"/>
                  <a:gd name="T55" fmla="*/ 1522 h 2998"/>
                  <a:gd name="T56" fmla="*/ 1072 w 1448"/>
                  <a:gd name="T57" fmla="*/ 1452 h 2998"/>
                  <a:gd name="T58" fmla="*/ 1112 w 1448"/>
                  <a:gd name="T59" fmla="*/ 1382 h 2998"/>
                  <a:gd name="T60" fmla="*/ 1152 w 1448"/>
                  <a:gd name="T61" fmla="*/ 1310 h 2998"/>
                  <a:gd name="T62" fmla="*/ 1188 w 1448"/>
                  <a:gd name="T63" fmla="*/ 1238 h 2998"/>
                  <a:gd name="T64" fmla="*/ 1222 w 1448"/>
                  <a:gd name="T65" fmla="*/ 1164 h 2998"/>
                  <a:gd name="T66" fmla="*/ 1254 w 1448"/>
                  <a:gd name="T67" fmla="*/ 1088 h 2998"/>
                  <a:gd name="T68" fmla="*/ 1284 w 1448"/>
                  <a:gd name="T69" fmla="*/ 1012 h 2998"/>
                  <a:gd name="T70" fmla="*/ 1312 w 1448"/>
                  <a:gd name="T71" fmla="*/ 936 h 2998"/>
                  <a:gd name="T72" fmla="*/ 1338 w 1448"/>
                  <a:gd name="T73" fmla="*/ 858 h 2998"/>
                  <a:gd name="T74" fmla="*/ 1360 w 1448"/>
                  <a:gd name="T75" fmla="*/ 780 h 2998"/>
                  <a:gd name="T76" fmla="*/ 1380 w 1448"/>
                  <a:gd name="T77" fmla="*/ 702 h 2998"/>
                  <a:gd name="T78" fmla="*/ 1398 w 1448"/>
                  <a:gd name="T79" fmla="*/ 622 h 2998"/>
                  <a:gd name="T80" fmla="*/ 1412 w 1448"/>
                  <a:gd name="T81" fmla="*/ 542 h 2998"/>
                  <a:gd name="T82" fmla="*/ 1426 w 1448"/>
                  <a:gd name="T83" fmla="*/ 462 h 2998"/>
                  <a:gd name="T84" fmla="*/ 1436 w 1448"/>
                  <a:gd name="T85" fmla="*/ 382 h 2998"/>
                  <a:gd name="T86" fmla="*/ 1442 w 1448"/>
                  <a:gd name="T87" fmla="*/ 302 h 2998"/>
                  <a:gd name="T88" fmla="*/ 1446 w 1448"/>
                  <a:gd name="T89" fmla="*/ 222 h 2998"/>
                  <a:gd name="T90" fmla="*/ 1448 w 1448"/>
                  <a:gd name="T91" fmla="*/ 142 h 2998"/>
                  <a:gd name="T92" fmla="*/ 1448 w 1448"/>
                  <a:gd name="T93" fmla="*/ 142 h 29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48" h="2998">
                    <a:moveTo>
                      <a:pt x="1448" y="142"/>
                    </a:moveTo>
                    <a:lnTo>
                      <a:pt x="1448" y="142"/>
                    </a:lnTo>
                    <a:lnTo>
                      <a:pt x="1268" y="110"/>
                    </a:lnTo>
                    <a:lnTo>
                      <a:pt x="1088" y="80"/>
                    </a:lnTo>
                    <a:lnTo>
                      <a:pt x="908" y="56"/>
                    </a:lnTo>
                    <a:lnTo>
                      <a:pt x="726" y="36"/>
                    </a:lnTo>
                    <a:lnTo>
                      <a:pt x="546" y="20"/>
                    </a:lnTo>
                    <a:lnTo>
                      <a:pt x="364" y="8"/>
                    </a:lnTo>
                    <a:lnTo>
                      <a:pt x="182" y="2"/>
                    </a:lnTo>
                    <a:lnTo>
                      <a:pt x="0" y="0"/>
                    </a:lnTo>
                    <a:lnTo>
                      <a:pt x="0" y="2998"/>
                    </a:lnTo>
                    <a:lnTo>
                      <a:pt x="240" y="2998"/>
                    </a:lnTo>
                    <a:lnTo>
                      <a:pt x="240" y="2298"/>
                    </a:lnTo>
                    <a:lnTo>
                      <a:pt x="240" y="2298"/>
                    </a:lnTo>
                    <a:lnTo>
                      <a:pt x="306" y="2258"/>
                    </a:lnTo>
                    <a:lnTo>
                      <a:pt x="372" y="2214"/>
                    </a:lnTo>
                    <a:lnTo>
                      <a:pt x="436" y="2168"/>
                    </a:lnTo>
                    <a:lnTo>
                      <a:pt x="498" y="2120"/>
                    </a:lnTo>
                    <a:lnTo>
                      <a:pt x="558" y="2070"/>
                    </a:lnTo>
                    <a:lnTo>
                      <a:pt x="618" y="2016"/>
                    </a:lnTo>
                    <a:lnTo>
                      <a:pt x="674" y="1960"/>
                    </a:lnTo>
                    <a:lnTo>
                      <a:pt x="730" y="1904"/>
                    </a:lnTo>
                    <a:lnTo>
                      <a:pt x="784" y="1844"/>
                    </a:lnTo>
                    <a:lnTo>
                      <a:pt x="838" y="1784"/>
                    </a:lnTo>
                    <a:lnTo>
                      <a:pt x="888" y="1720"/>
                    </a:lnTo>
                    <a:lnTo>
                      <a:pt x="936" y="1656"/>
                    </a:lnTo>
                    <a:lnTo>
                      <a:pt x="984" y="1590"/>
                    </a:lnTo>
                    <a:lnTo>
                      <a:pt x="1028" y="1522"/>
                    </a:lnTo>
                    <a:lnTo>
                      <a:pt x="1072" y="1452"/>
                    </a:lnTo>
                    <a:lnTo>
                      <a:pt x="1112" y="1382"/>
                    </a:lnTo>
                    <a:lnTo>
                      <a:pt x="1152" y="1310"/>
                    </a:lnTo>
                    <a:lnTo>
                      <a:pt x="1188" y="1238"/>
                    </a:lnTo>
                    <a:lnTo>
                      <a:pt x="1222" y="1164"/>
                    </a:lnTo>
                    <a:lnTo>
                      <a:pt x="1254" y="1088"/>
                    </a:lnTo>
                    <a:lnTo>
                      <a:pt x="1284" y="1012"/>
                    </a:lnTo>
                    <a:lnTo>
                      <a:pt x="1312" y="936"/>
                    </a:lnTo>
                    <a:lnTo>
                      <a:pt x="1338" y="858"/>
                    </a:lnTo>
                    <a:lnTo>
                      <a:pt x="1360" y="780"/>
                    </a:lnTo>
                    <a:lnTo>
                      <a:pt x="1380" y="702"/>
                    </a:lnTo>
                    <a:lnTo>
                      <a:pt x="1398" y="622"/>
                    </a:lnTo>
                    <a:lnTo>
                      <a:pt x="1412" y="542"/>
                    </a:lnTo>
                    <a:lnTo>
                      <a:pt x="1426" y="462"/>
                    </a:lnTo>
                    <a:lnTo>
                      <a:pt x="1436" y="382"/>
                    </a:lnTo>
                    <a:lnTo>
                      <a:pt x="1442" y="302"/>
                    </a:lnTo>
                    <a:lnTo>
                      <a:pt x="1446" y="222"/>
                    </a:lnTo>
                    <a:lnTo>
                      <a:pt x="1448" y="142"/>
                    </a:lnTo>
                    <a:lnTo>
                      <a:pt x="1448" y="142"/>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Ubuntu" panose="020B0504030602030204" pitchFamily="34" charset="0"/>
                  <a:ea typeface="+mn-ea"/>
                  <a:cs typeface="+mn-cs"/>
                </a:endParaRPr>
              </a:p>
            </p:txBody>
          </p:sp>
          <p:sp>
            <p:nvSpPr>
              <p:cNvPr id="51" name="Rectangle 139">
                <a:extLst>
                  <a:ext uri="{FF2B5EF4-FFF2-40B4-BE49-F238E27FC236}">
                    <a16:creationId xmlns:a16="http://schemas.microsoft.com/office/drawing/2014/main" id="{B6380DA5-E69B-441F-94A5-B14BE03A282A}"/>
                  </a:ext>
                </a:extLst>
              </p:cNvPr>
              <p:cNvSpPr>
                <a:spLocks noChangeArrowheads="1"/>
              </p:cNvSpPr>
              <p:nvPr/>
            </p:nvSpPr>
            <p:spPr bwMode="auto">
              <a:xfrm>
                <a:off x="15024100" y="6194425"/>
                <a:ext cx="2413000" cy="177800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Ubuntu" panose="020B0504030602030204" pitchFamily="34" charset="0"/>
                  <a:ea typeface="+mn-ea"/>
                  <a:cs typeface="+mn-cs"/>
                </a:endParaRPr>
              </a:p>
            </p:txBody>
          </p:sp>
          <p:sp>
            <p:nvSpPr>
              <p:cNvPr id="52" name="Rectangle 140">
                <a:extLst>
                  <a:ext uri="{FF2B5EF4-FFF2-40B4-BE49-F238E27FC236}">
                    <a16:creationId xmlns:a16="http://schemas.microsoft.com/office/drawing/2014/main" id="{515E364A-D569-440C-B90E-D97D91D45542}"/>
                  </a:ext>
                </a:extLst>
              </p:cNvPr>
              <p:cNvSpPr>
                <a:spLocks noChangeArrowheads="1"/>
              </p:cNvSpPr>
              <p:nvPr/>
            </p:nvSpPr>
            <p:spPr bwMode="auto">
              <a:xfrm>
                <a:off x="16230600" y="6194425"/>
                <a:ext cx="1206500" cy="177800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Ubuntu" panose="020B0504030602030204" pitchFamily="34" charset="0"/>
                  <a:ea typeface="+mn-ea"/>
                  <a:cs typeface="+mn-cs"/>
                </a:endParaRPr>
              </a:p>
            </p:txBody>
          </p:sp>
          <p:sp>
            <p:nvSpPr>
              <p:cNvPr id="53" name="Rectangle 141">
                <a:extLst>
                  <a:ext uri="{FF2B5EF4-FFF2-40B4-BE49-F238E27FC236}">
                    <a16:creationId xmlns:a16="http://schemas.microsoft.com/office/drawing/2014/main" id="{B0B3D34C-B20C-4A4C-9F83-91B9878180C7}"/>
                  </a:ext>
                </a:extLst>
              </p:cNvPr>
              <p:cNvSpPr>
                <a:spLocks noChangeArrowheads="1"/>
              </p:cNvSpPr>
              <p:nvPr/>
            </p:nvSpPr>
            <p:spPr bwMode="auto">
              <a:xfrm>
                <a:off x="15532100" y="6765925"/>
                <a:ext cx="1397000" cy="38100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Ubuntu" panose="020B0504030602030204" pitchFamily="34" charset="0"/>
                  <a:ea typeface="+mn-ea"/>
                  <a:cs typeface="+mn-cs"/>
                </a:endParaRPr>
              </a:p>
            </p:txBody>
          </p:sp>
          <p:sp>
            <p:nvSpPr>
              <p:cNvPr id="54" name="Rectangle 142">
                <a:extLst>
                  <a:ext uri="{FF2B5EF4-FFF2-40B4-BE49-F238E27FC236}">
                    <a16:creationId xmlns:a16="http://schemas.microsoft.com/office/drawing/2014/main" id="{DEFE78E6-7E2E-46FF-8204-0147B5CFF629}"/>
                  </a:ext>
                </a:extLst>
              </p:cNvPr>
              <p:cNvSpPr>
                <a:spLocks noChangeArrowheads="1"/>
              </p:cNvSpPr>
              <p:nvPr/>
            </p:nvSpPr>
            <p:spPr bwMode="auto">
              <a:xfrm>
                <a:off x="14579600" y="7718425"/>
                <a:ext cx="3302000" cy="38100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Ubuntu" panose="020B0504030602030204" pitchFamily="34" charset="0"/>
                  <a:ea typeface="+mn-ea"/>
                  <a:cs typeface="+mn-cs"/>
                </a:endParaRPr>
              </a:p>
            </p:txBody>
          </p:sp>
          <p:sp>
            <p:nvSpPr>
              <p:cNvPr id="55" name="Rectangle 143">
                <a:extLst>
                  <a:ext uri="{FF2B5EF4-FFF2-40B4-BE49-F238E27FC236}">
                    <a16:creationId xmlns:a16="http://schemas.microsoft.com/office/drawing/2014/main" id="{68BABEFE-0167-4A95-AA82-808483043046}"/>
                  </a:ext>
                </a:extLst>
              </p:cNvPr>
              <p:cNvSpPr>
                <a:spLocks noChangeArrowheads="1"/>
              </p:cNvSpPr>
              <p:nvPr/>
            </p:nvSpPr>
            <p:spPr bwMode="auto">
              <a:xfrm>
                <a:off x="16230600" y="7718425"/>
                <a:ext cx="1651000" cy="38100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Ubuntu" panose="020B0504030602030204" pitchFamily="34" charset="0"/>
                  <a:ea typeface="+mn-ea"/>
                  <a:cs typeface="+mn-cs"/>
                </a:endParaRPr>
              </a:p>
            </p:txBody>
          </p:sp>
          <p:sp>
            <p:nvSpPr>
              <p:cNvPr id="56" name="Rectangle 144">
                <a:extLst>
                  <a:ext uri="{FF2B5EF4-FFF2-40B4-BE49-F238E27FC236}">
                    <a16:creationId xmlns:a16="http://schemas.microsoft.com/office/drawing/2014/main" id="{C7098512-C91A-4AD8-9292-E816A2FC756E}"/>
                  </a:ext>
                </a:extLst>
              </p:cNvPr>
              <p:cNvSpPr>
                <a:spLocks noChangeArrowheads="1"/>
              </p:cNvSpPr>
              <p:nvPr/>
            </p:nvSpPr>
            <p:spPr bwMode="auto">
              <a:xfrm>
                <a:off x="16230600" y="6765925"/>
                <a:ext cx="698500" cy="38100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Ubuntu" panose="020B0504030602030204" pitchFamily="34" charset="0"/>
                  <a:ea typeface="+mn-ea"/>
                  <a:cs typeface="+mn-cs"/>
                </a:endParaRPr>
              </a:p>
            </p:txBody>
          </p:sp>
        </p:grpSp>
      </p:grpSp>
      <p:sp>
        <p:nvSpPr>
          <p:cNvPr id="43" name="Rectangle 42">
            <a:extLst>
              <a:ext uri="{FF2B5EF4-FFF2-40B4-BE49-F238E27FC236}">
                <a16:creationId xmlns:a16="http://schemas.microsoft.com/office/drawing/2014/main" id="{26DA8227-7782-42AE-A2FE-07257BB6C7D6}"/>
              </a:ext>
            </a:extLst>
          </p:cNvPr>
          <p:cNvSpPr/>
          <p:nvPr/>
        </p:nvSpPr>
        <p:spPr>
          <a:xfrm>
            <a:off x="7598612" y="-2"/>
            <a:ext cx="4593387" cy="6858002"/>
          </a:xfrm>
          <a:prstGeom prst="rect">
            <a:avLst/>
          </a:prstGeom>
          <a:solidFill>
            <a:schemeClr val="tx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Ubuntu"/>
              <a:ea typeface="+mn-ea"/>
              <a:cs typeface="+mn-cs"/>
            </a:endParaRPr>
          </a:p>
        </p:txBody>
      </p:sp>
      <p:pic>
        <p:nvPicPr>
          <p:cNvPr id="5" name="Picture 4" descr="A picture containing skyscraper&#10;&#10;Description automatically generated">
            <a:extLst>
              <a:ext uri="{FF2B5EF4-FFF2-40B4-BE49-F238E27FC236}">
                <a16:creationId xmlns:a16="http://schemas.microsoft.com/office/drawing/2014/main" id="{CAC80C01-50C4-4BEB-9F97-8132A49BD71B}"/>
              </a:ext>
            </a:extLst>
          </p:cNvPr>
          <p:cNvPicPr>
            <a:picLocks noChangeAspect="1"/>
          </p:cNvPicPr>
          <p:nvPr/>
        </p:nvPicPr>
        <p:blipFill rotWithShape="1">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rcRect l="31013" r="20357"/>
          <a:stretch/>
        </p:blipFill>
        <p:spPr>
          <a:xfrm>
            <a:off x="7358552" y="-3776"/>
            <a:ext cx="4833447" cy="6858002"/>
          </a:xfrm>
          <a:prstGeom prst="rect">
            <a:avLst/>
          </a:prstGeom>
        </p:spPr>
      </p:pic>
      <p:sp>
        <p:nvSpPr>
          <p:cNvPr id="15" name="Rectangle 14"/>
          <p:cNvSpPr/>
          <p:nvPr/>
        </p:nvSpPr>
        <p:spPr>
          <a:xfrm>
            <a:off x="277943" y="102837"/>
            <a:ext cx="11194478" cy="70788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2000" b="1" i="0" u="none" strike="noStrike" kern="1200" cap="none" spc="0" normalizeH="0" baseline="0" noProof="0">
                <a:ln>
                  <a:noFill/>
                </a:ln>
                <a:solidFill>
                  <a:prstClr val="black"/>
                </a:solidFill>
                <a:effectLst/>
                <a:uLnTx/>
                <a:uFillTx/>
                <a:latin typeface="Ubuntu" panose="020B0504030602030204" pitchFamily="34" charset="0"/>
                <a:ea typeface="+mn-ea"/>
                <a:cs typeface="+mn-cs"/>
              </a:rPr>
              <a:t>IMPLEMENTING A MODERN PLATFORM FOR A LEADING ADING PROVIDER OF SUPPLEMENTAL A&amp;H, DISABILITY, AND LIFE INSURANCE PRODUCTS</a:t>
            </a:r>
            <a:endParaRPr kumimoji="0" lang="en-US" sz="2000" b="1" i="0" u="none" strike="noStrike" kern="1200" cap="none" spc="0" normalizeH="0" baseline="0" noProof="0">
              <a:ln>
                <a:noFill/>
              </a:ln>
              <a:solidFill>
                <a:prstClr val="black"/>
              </a:solidFill>
              <a:effectLst/>
              <a:uLnTx/>
              <a:uFillTx/>
              <a:latin typeface="Ubuntu" panose="020B0504030602030204" pitchFamily="34" charset="0"/>
              <a:ea typeface="+mn-ea"/>
              <a:cs typeface="+mn-cs"/>
            </a:endParaRPr>
          </a:p>
        </p:txBody>
      </p:sp>
    </p:spTree>
    <p:extLst>
      <p:ext uri="{BB962C8B-B14F-4D97-AF65-F5344CB8AC3E}">
        <p14:creationId xmlns:p14="http://schemas.microsoft.com/office/powerpoint/2010/main" val="12938316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Shape 02-Vibrant Blue">
            <a:extLst>
              <a:ext uri="{FF2B5EF4-FFF2-40B4-BE49-F238E27FC236}">
                <a16:creationId xmlns:a16="http://schemas.microsoft.com/office/drawing/2014/main" id="{82321FBA-9126-4CE3-85AE-F46EBAC0B1FA}"/>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180771" y="1001031"/>
            <a:ext cx="8816231" cy="4210732"/>
          </a:xfrm>
          <a:prstGeom prst="rect">
            <a:avLst/>
          </a:prstGeom>
        </p:spPr>
      </p:pic>
      <p:sp>
        <p:nvSpPr>
          <p:cNvPr id="3" name="Text Placeholder 2">
            <a:extLst>
              <a:ext uri="{FF2B5EF4-FFF2-40B4-BE49-F238E27FC236}">
                <a16:creationId xmlns:a16="http://schemas.microsoft.com/office/drawing/2014/main" id="{F84584AC-DBBE-4B47-9A7E-7A7C2D8CF196}"/>
              </a:ext>
            </a:extLst>
          </p:cNvPr>
          <p:cNvSpPr>
            <a:spLocks noGrp="1"/>
          </p:cNvSpPr>
          <p:nvPr>
            <p:ph type="title" idx="4294967295"/>
          </p:nvPr>
        </p:nvSpPr>
        <p:spPr>
          <a:xfrm>
            <a:off x="3644900" y="1644650"/>
            <a:ext cx="8547100" cy="3567113"/>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70000"/>
              </a:lnSpc>
              <a:spcBef>
                <a:spcPts val="0"/>
              </a:spcBef>
              <a:spcAft>
                <a:spcPts val="0"/>
              </a:spcAft>
              <a:buClrTx/>
              <a:buSzTx/>
              <a:buFontTx/>
              <a:buNone/>
              <a:tabLst/>
              <a:defRPr/>
            </a:pPr>
            <a:r>
              <a:rPr kumimoji="0" lang="en-GB" sz="8000" b="1" i="0" u="none" strike="noStrike" kern="1200" cap="all" spc="0" normalizeH="0" baseline="0" noProof="0">
                <a:ln>
                  <a:noFill/>
                </a:ln>
                <a:solidFill>
                  <a:schemeClr val="bg1"/>
                </a:solidFill>
                <a:effectLst/>
                <a:uLnTx/>
                <a:uFillTx/>
                <a:latin typeface="+mn-lt"/>
                <a:ea typeface="+mn-ea"/>
                <a:cs typeface="+mn-cs"/>
              </a:rPr>
              <a:t>GET THE</a:t>
            </a:r>
            <a:br>
              <a:rPr kumimoji="0" lang="en-GB" sz="8000" b="1" i="0" u="none" strike="noStrike" kern="1200" cap="all" spc="0" normalizeH="0" baseline="0" noProof="0">
                <a:ln>
                  <a:noFill/>
                </a:ln>
                <a:solidFill>
                  <a:schemeClr val="bg1"/>
                </a:solidFill>
                <a:effectLst/>
                <a:uLnTx/>
                <a:uFillTx/>
                <a:latin typeface="+mn-lt"/>
                <a:ea typeface="+mn-ea"/>
                <a:cs typeface="+mn-cs"/>
              </a:rPr>
            </a:br>
            <a:r>
              <a:rPr kumimoji="0" lang="en-GB" sz="8000" b="1" i="0" u="none" strike="noStrike" kern="1200" cap="all" spc="0" normalizeH="0" baseline="0" noProof="0">
                <a:ln>
                  <a:noFill/>
                </a:ln>
                <a:solidFill>
                  <a:schemeClr val="bg1"/>
                </a:solidFill>
                <a:effectLst/>
                <a:uLnTx/>
                <a:uFillTx/>
                <a:latin typeface="+mn-lt"/>
                <a:ea typeface="+mn-ea"/>
                <a:cs typeface="+mn-cs"/>
              </a:rPr>
              <a:t>		FUTURE</a:t>
            </a:r>
            <a:br>
              <a:rPr kumimoji="0" lang="en-GB" sz="8000" b="1" i="0" u="none" strike="noStrike" kern="1200" cap="all" spc="0" normalizeH="0" baseline="0" noProof="0">
                <a:ln>
                  <a:noFill/>
                </a:ln>
                <a:solidFill>
                  <a:schemeClr val="bg1"/>
                </a:solidFill>
                <a:effectLst/>
                <a:uLnTx/>
                <a:uFillTx/>
                <a:latin typeface="+mn-lt"/>
                <a:ea typeface="+mn-ea"/>
                <a:cs typeface="+mn-cs"/>
              </a:rPr>
            </a:br>
            <a:r>
              <a:rPr kumimoji="0" lang="en-GB" sz="8000" b="1" i="0" u="none" strike="noStrike" kern="1200" cap="all" spc="0" normalizeH="0" baseline="0" noProof="0">
                <a:ln>
                  <a:noFill/>
                </a:ln>
                <a:solidFill>
                  <a:schemeClr val="bg1"/>
                </a:solidFill>
                <a:effectLst/>
                <a:uLnTx/>
                <a:uFillTx/>
                <a:latin typeface="+mn-lt"/>
                <a:ea typeface="+mn-ea"/>
                <a:cs typeface="+mn-cs"/>
              </a:rPr>
              <a:t>	YOU WANT</a:t>
            </a:r>
          </a:p>
        </p:txBody>
      </p:sp>
      <p:sp>
        <p:nvSpPr>
          <p:cNvPr id="4" name="Subtitle 3">
            <a:extLst>
              <a:ext uri="{FF2B5EF4-FFF2-40B4-BE49-F238E27FC236}">
                <a16:creationId xmlns:a16="http://schemas.microsoft.com/office/drawing/2014/main" id="{9EFB4F0C-582D-4C12-B5AC-EA88D439954E}"/>
              </a:ext>
            </a:extLst>
          </p:cNvPr>
          <p:cNvSpPr>
            <a:spLocks noGrp="1"/>
          </p:cNvSpPr>
          <p:nvPr>
            <p:ph type="subTitle" idx="1"/>
          </p:nvPr>
        </p:nvSpPr>
        <p:spPr>
          <a:xfrm>
            <a:off x="457200" y="6018063"/>
            <a:ext cx="11277600" cy="822325"/>
          </a:xfrm>
        </p:spPr>
        <p:txBody>
          <a:bodyPr/>
          <a:lstStyle/>
          <a:p>
            <a:pPr algn="r"/>
            <a:r>
              <a:rPr lang="en-US"/>
              <a:t>capgemini.com</a:t>
            </a:r>
          </a:p>
        </p:txBody>
      </p:sp>
    </p:spTree>
    <p:extLst>
      <p:ext uri="{BB962C8B-B14F-4D97-AF65-F5344CB8AC3E}">
        <p14:creationId xmlns:p14="http://schemas.microsoft.com/office/powerpoint/2010/main" val="297307683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19B2D289-1236-364B-9E53-7DF05CDFC930}"/>
              </a:ext>
            </a:extLst>
          </p:cNvPr>
          <p:cNvSpPr>
            <a:spLocks noGrp="1"/>
          </p:cNvSpPr>
          <p:nvPr>
            <p:ph type="title" idx="4294967295"/>
          </p:nvPr>
        </p:nvSpPr>
        <p:spPr>
          <a:xfrm>
            <a:off x="6536184" y="2939130"/>
            <a:ext cx="2219960" cy="22961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ts val="2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Ubuntu" panose="020B0504030602030204" pitchFamily="34" charset="0"/>
                <a:ea typeface="+mn-ea"/>
                <a:cs typeface="+mn-cs"/>
              </a:rPr>
              <a:t>About Capgemini</a:t>
            </a:r>
          </a:p>
        </p:txBody>
      </p:sp>
      <p:sp>
        <p:nvSpPr>
          <p:cNvPr id="18" name="Rectangle 17">
            <a:extLst>
              <a:ext uri="{FF2B5EF4-FFF2-40B4-BE49-F238E27FC236}">
                <a16:creationId xmlns:a16="http://schemas.microsoft.com/office/drawing/2014/main" id="{208CE49A-DF70-704F-B1B3-609712CC9C64}"/>
              </a:ext>
            </a:extLst>
          </p:cNvPr>
          <p:cNvSpPr/>
          <p:nvPr/>
        </p:nvSpPr>
        <p:spPr>
          <a:xfrm>
            <a:off x="6536185" y="3318394"/>
            <a:ext cx="4528367"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FFFFFF"/>
                </a:solidFill>
                <a:effectLst/>
                <a:uLnTx/>
                <a:uFillTx/>
                <a:latin typeface="Ubuntu"/>
                <a:ea typeface="Verdana" panose="020B0604030504040204" pitchFamily="34" charset="0"/>
                <a:cs typeface="+mn-cs"/>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60,000 team members more </a:t>
            </a:r>
            <a:r>
              <a:rPr kumimoji="0" lang="en-US" sz="900" b="0" i="0" u="none" strike="noStrike" kern="1200" cap="none" spc="0" normalizeH="0" baseline="0" noProof="0" dirty="0">
                <a:ln>
                  <a:noFill/>
                </a:ln>
                <a:solidFill>
                  <a:srgbClr val="FFFFFF"/>
                </a:solidFill>
                <a:effectLst/>
                <a:uLnTx/>
                <a:uFillTx/>
                <a:latin typeface="Ubuntu"/>
                <a:ea typeface="Verdana" panose="020B0604030504040204" pitchFamily="34" charset="0"/>
                <a:cs typeface="+mn-cs"/>
              </a:rPr>
              <a:t>than</a:t>
            </a:r>
            <a:r>
              <a:rPr kumimoji="0" lang="en-GB" sz="900" b="0" i="0" u="none" strike="noStrike" kern="1200" cap="none" spc="0" normalizeH="0" baseline="0" noProof="0" dirty="0">
                <a:ln>
                  <a:noFill/>
                </a:ln>
                <a:solidFill>
                  <a:srgbClr val="FFFFFF"/>
                </a:solidFill>
                <a:effectLst/>
                <a:uLnTx/>
                <a:uFillTx/>
                <a:latin typeface="Ubuntu"/>
                <a:ea typeface="Verdana" panose="020B0604030504040204" pitchFamily="34" charset="0"/>
                <a:cs typeface="+mn-cs"/>
              </a:rPr>
              <a:t> 50 countries. With its strong 55-year heritage and deep industry expertise, Capgemini is trusted by its clients to address the entire breadth of their business needs, from strategy and design to operations, </a:t>
            </a:r>
            <a:r>
              <a:rPr kumimoji="0" lang="en-US" sz="900" b="0" i="0" u="none" strike="noStrike" kern="1200" cap="none" spc="0" normalizeH="0" baseline="0" noProof="0" dirty="0">
                <a:ln>
                  <a:noFill/>
                </a:ln>
                <a:solidFill>
                  <a:srgbClr val="FFFFFF"/>
                </a:solidFill>
                <a:effectLst/>
                <a:uLnTx/>
                <a:uFillTx/>
                <a:latin typeface="Ubuntu"/>
                <a:ea typeface="Verdana" panose="020B0604030504040204" pitchFamily="34" charset="0"/>
                <a:cs typeface="+mn-cs"/>
              </a:rPr>
              <a:t>fueled</a:t>
            </a:r>
            <a:r>
              <a:rPr kumimoji="0" lang="en-GB" sz="900" b="0" i="0" u="none" strike="noStrike" kern="1200" cap="none" spc="0" normalizeH="0" baseline="0" noProof="0" dirty="0">
                <a:ln>
                  <a:noFill/>
                </a:ln>
                <a:solidFill>
                  <a:srgbClr val="FFFFFF"/>
                </a:solidFill>
                <a:effectLst/>
                <a:uLnTx/>
                <a:uFillTx/>
                <a:latin typeface="Ubuntu"/>
                <a:ea typeface="Verdana" panose="020B0604030504040204" pitchFamily="34" charset="0"/>
                <a:cs typeface="+mn-cs"/>
              </a:rPr>
              <a:t> by the fast evolving and innovative world of cloud, data, AI, connectivity, software, digital engineering and platforms. The Group reported in 2022 global revenues of €22 billion.</a:t>
            </a:r>
            <a:endParaRPr kumimoji="0" lang="en-US" sz="900" b="0" i="0" u="none" strike="noStrike" kern="1200" cap="none" spc="0" normalizeH="0" baseline="0" noProof="0" dirty="0">
              <a:ln>
                <a:noFill/>
              </a:ln>
              <a:solidFill>
                <a:srgbClr val="FFFFFF"/>
              </a:solidFill>
              <a:effectLst/>
              <a:uLnTx/>
              <a:uFillTx/>
              <a:latin typeface="Ubuntu"/>
              <a:ea typeface="Verdana" panose="020B0604030504040204" pitchFamily="34" charset="0"/>
              <a:cs typeface="+mn-cs"/>
            </a:endParaRPr>
          </a:p>
        </p:txBody>
      </p:sp>
      <p:sp>
        <p:nvSpPr>
          <p:cNvPr id="19" name="Rectangle 18">
            <a:extLst>
              <a:ext uri="{FF2B5EF4-FFF2-40B4-BE49-F238E27FC236}">
                <a16:creationId xmlns:a16="http://schemas.microsoft.com/office/drawing/2014/main" id="{4EB6E078-947A-8242-837C-CEA45876B3E9}"/>
              </a:ext>
            </a:extLst>
          </p:cNvPr>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FFFFFF"/>
                </a:solidFill>
                <a:effectLst/>
                <a:uLnTx/>
                <a:uFillTx/>
                <a:latin typeface="Ubuntu" panose="020B0504030602030204" pitchFamily="34" charset="0"/>
                <a:ea typeface="+mn-ea"/>
                <a:cs typeface="+mn-cs"/>
              </a:rPr>
              <a:t>Get The Future You Want </a:t>
            </a:r>
            <a:r>
              <a:rPr kumimoji="0" lang="en-US" sz="900" b="0" i="0" u="none" strike="noStrike" kern="1200" cap="none" spc="0" normalizeH="0" baseline="0" noProof="0" dirty="0">
                <a:ln>
                  <a:noFill/>
                </a:ln>
                <a:solidFill>
                  <a:srgbClr val="FFFFFF"/>
                </a:solidFill>
                <a:effectLst/>
                <a:uLnTx/>
                <a:uFillTx/>
                <a:latin typeface="Ubuntu" panose="020B0504030602030204" pitchFamily="34" charset="0"/>
                <a:ea typeface="+mn-ea"/>
                <a:cs typeface="+mn-cs"/>
              </a:rPr>
              <a:t>|</a:t>
            </a:r>
            <a:r>
              <a:rPr kumimoji="0" lang="en-GB" sz="900" b="0" i="0" u="none" strike="noStrike" kern="1200" cap="none" spc="0" normalizeH="0" baseline="0" noProof="0" dirty="0">
                <a:ln>
                  <a:noFill/>
                </a:ln>
                <a:solidFill>
                  <a:srgbClr val="FFFFFF"/>
                </a:solidFill>
                <a:effectLst/>
                <a:uLnTx/>
                <a:uFillTx/>
                <a:latin typeface="Ubuntu" panose="020B0504030602030204" pitchFamily="34" charset="0"/>
                <a:ea typeface="+mn-ea"/>
                <a:cs typeface="+mn-cs"/>
              </a:rPr>
              <a:t> </a:t>
            </a:r>
            <a:r>
              <a:rPr kumimoji="0" lang="en-US" sz="1050" b="0" i="0" u="none" strike="noStrike" kern="1200" cap="none" spc="0" normalizeH="0" baseline="0" noProof="0" dirty="0">
                <a:ln>
                  <a:noFill/>
                </a:ln>
                <a:solidFill>
                  <a:srgbClr val="12ABDB"/>
                </a:solidFill>
                <a:effectLst/>
                <a:uLnTx/>
                <a:uFillTx/>
                <a:latin typeface="Ubuntu" panose="020B0504030602030204" pitchFamily="34" charset="0"/>
                <a:ea typeface="+mn-ea"/>
                <a:cs typeface="+mn-cs"/>
              </a:rPr>
              <a:t>www.capgemini.com</a:t>
            </a:r>
          </a:p>
        </p:txBody>
      </p:sp>
    </p:spTree>
    <p:extLst>
      <p:ext uri="{BB962C8B-B14F-4D97-AF65-F5344CB8AC3E}">
        <p14:creationId xmlns:p14="http://schemas.microsoft.com/office/powerpoint/2010/main" val="903015477"/>
      </p:ext>
    </p:extLst>
  </p:cSld>
  <p:clrMapOvr>
    <a:masterClrMapping/>
  </p:clrMapOvr>
  <p:transition spd="slow">
    <p:push dir="u"/>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Flagship Education Programs &amp; Opportunities for Executives | Careers |  Capgemini">
            <a:extLst>
              <a:ext uri="{FF2B5EF4-FFF2-40B4-BE49-F238E27FC236}">
                <a16:creationId xmlns:a16="http://schemas.microsoft.com/office/drawing/2014/main" id="{3E1872D2-45DC-5FE1-E77B-C080DBDEED16}"/>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28965" r="27949"/>
          <a:stretch/>
        </p:blipFill>
        <p:spPr bwMode="auto">
          <a:xfrm>
            <a:off x="7421531" y="0"/>
            <a:ext cx="4727837" cy="6858000"/>
          </a:xfrm>
          <a:prstGeom prst="rect">
            <a:avLst/>
          </a:prstGeom>
          <a:noFill/>
          <a:extLst>
            <a:ext uri="{909E8E84-426E-40DD-AFC4-6F175D3DCCD1}">
              <a14:hiddenFill xmlns:a14="http://schemas.microsoft.com/office/drawing/2010/main">
                <a:solidFill>
                  <a:srgbClr val="FFFFFF"/>
                </a:solidFill>
              </a14:hiddenFill>
            </a:ext>
          </a:extLst>
        </p:spPr>
      </p:pic>
      <p:sp>
        <p:nvSpPr>
          <p:cNvPr id="5" name="Graphic 6">
            <a:extLst>
              <a:ext uri="{FF2B5EF4-FFF2-40B4-BE49-F238E27FC236}">
                <a16:creationId xmlns:a16="http://schemas.microsoft.com/office/drawing/2014/main" id="{360458FB-76B6-4743-A12A-A42645182007}"/>
              </a:ext>
              <a:ext uri="{C183D7F6-B498-43B3-948B-1728B52AA6E4}">
                <adec:decorative xmlns:adec="http://schemas.microsoft.com/office/drawing/2017/decorative" val="1"/>
              </a:ext>
            </a:extLst>
          </p:cNvPr>
          <p:cNvSpPr>
            <a:spLocks/>
          </p:cNvSpPr>
          <p:nvPr/>
        </p:nvSpPr>
        <p:spPr>
          <a:xfrm rot="14203607">
            <a:off x="3766826" y="1279477"/>
            <a:ext cx="12519514" cy="6871588"/>
          </a:xfrm>
          <a:custGeom>
            <a:avLst/>
            <a:gdLst>
              <a:gd name="connsiteX0" fmla="*/ 359093 w 8112442"/>
              <a:gd name="connsiteY0" fmla="*/ 4061460 h 4061459"/>
              <a:gd name="connsiteX1" fmla="*/ 0 w 8112442"/>
              <a:gd name="connsiteY1" fmla="*/ 4050983 h 4061459"/>
              <a:gd name="connsiteX2" fmla="*/ 1905 w 8112442"/>
              <a:gd name="connsiteY2" fmla="*/ 4012883 h 4061459"/>
              <a:gd name="connsiteX3" fmla="*/ 3440430 w 8112442"/>
              <a:gd name="connsiteY3" fmla="*/ 1951673 h 4061459"/>
              <a:gd name="connsiteX4" fmla="*/ 3753803 w 8112442"/>
              <a:gd name="connsiteY4" fmla="*/ 1336358 h 4061459"/>
              <a:gd name="connsiteX5" fmla="*/ 4995863 w 8112442"/>
              <a:gd name="connsiteY5" fmla="*/ 397193 h 4061459"/>
              <a:gd name="connsiteX6" fmla="*/ 5687378 w 8112442"/>
              <a:gd name="connsiteY6" fmla="*/ 307658 h 4061459"/>
              <a:gd name="connsiteX7" fmla="*/ 5698808 w 8112442"/>
              <a:gd name="connsiteY7" fmla="*/ 308610 h 4061459"/>
              <a:gd name="connsiteX8" fmla="*/ 5703570 w 8112442"/>
              <a:gd name="connsiteY8" fmla="*/ 319088 h 4061459"/>
              <a:gd name="connsiteX9" fmla="*/ 6342698 w 8112442"/>
              <a:gd name="connsiteY9" fmla="*/ 802958 h 4061459"/>
              <a:gd name="connsiteX10" fmla="*/ 7061835 w 8112442"/>
              <a:gd name="connsiteY10" fmla="*/ 707708 h 4061459"/>
              <a:gd name="connsiteX11" fmla="*/ 8086725 w 8112442"/>
              <a:gd name="connsiteY11" fmla="*/ 0 h 4061459"/>
              <a:gd name="connsiteX12" fmla="*/ 8112443 w 8112442"/>
              <a:gd name="connsiteY12" fmla="*/ 27623 h 4061459"/>
              <a:gd name="connsiteX13" fmla="*/ 7074218 w 8112442"/>
              <a:gd name="connsiteY13" fmla="*/ 742950 h 4061459"/>
              <a:gd name="connsiteX14" fmla="*/ 6334125 w 8112442"/>
              <a:gd name="connsiteY14" fmla="*/ 840105 h 4061459"/>
              <a:gd name="connsiteX15" fmla="*/ 5673090 w 8112442"/>
              <a:gd name="connsiteY15" fmla="*/ 344805 h 4061459"/>
              <a:gd name="connsiteX16" fmla="*/ 5005388 w 8112442"/>
              <a:gd name="connsiteY16" fmla="*/ 433388 h 4061459"/>
              <a:gd name="connsiteX17" fmla="*/ 3786188 w 8112442"/>
              <a:gd name="connsiteY17" fmla="*/ 1356360 h 4061459"/>
              <a:gd name="connsiteX18" fmla="*/ 3475673 w 8112442"/>
              <a:gd name="connsiteY18" fmla="*/ 1966913 h 4061459"/>
              <a:gd name="connsiteX19" fmla="*/ 2500313 w 8112442"/>
              <a:gd name="connsiteY19" fmla="*/ 3420428 h 4061459"/>
              <a:gd name="connsiteX20" fmla="*/ 359093 w 8112442"/>
              <a:gd name="connsiteY20" fmla="*/ 4061460 h 4061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112442" h="4061459">
                <a:moveTo>
                  <a:pt x="359093" y="4061460"/>
                </a:moveTo>
                <a:cubicBezTo>
                  <a:pt x="242888" y="4061460"/>
                  <a:pt x="122873" y="4057650"/>
                  <a:pt x="0" y="4050983"/>
                </a:cubicBezTo>
                <a:lnTo>
                  <a:pt x="1905" y="4012883"/>
                </a:lnTo>
                <a:cubicBezTo>
                  <a:pt x="2445068" y="4147185"/>
                  <a:pt x="2996565" y="2929890"/>
                  <a:pt x="3440430" y="1951673"/>
                </a:cubicBezTo>
                <a:cubicBezTo>
                  <a:pt x="3543300" y="1724978"/>
                  <a:pt x="3640455" y="1510665"/>
                  <a:pt x="3753803" y="1336358"/>
                </a:cubicBezTo>
                <a:cubicBezTo>
                  <a:pt x="4133850" y="750570"/>
                  <a:pt x="4638675" y="501968"/>
                  <a:pt x="4995863" y="397193"/>
                </a:cubicBezTo>
                <a:cubicBezTo>
                  <a:pt x="5382578" y="282893"/>
                  <a:pt x="5684520" y="307658"/>
                  <a:pt x="5687378" y="307658"/>
                </a:cubicBezTo>
                <a:lnTo>
                  <a:pt x="5698808" y="308610"/>
                </a:lnTo>
                <a:lnTo>
                  <a:pt x="5703570" y="319088"/>
                </a:lnTo>
                <a:cubicBezTo>
                  <a:pt x="5771198" y="465773"/>
                  <a:pt x="5980748" y="732473"/>
                  <a:pt x="6342698" y="802958"/>
                </a:cubicBezTo>
                <a:cubicBezTo>
                  <a:pt x="6558915" y="845820"/>
                  <a:pt x="6800850" y="813435"/>
                  <a:pt x="7061835" y="707708"/>
                </a:cubicBezTo>
                <a:cubicBezTo>
                  <a:pt x="7376160" y="579120"/>
                  <a:pt x="7721918" y="340995"/>
                  <a:pt x="8086725" y="0"/>
                </a:cubicBezTo>
                <a:lnTo>
                  <a:pt x="8112443" y="27623"/>
                </a:lnTo>
                <a:cubicBezTo>
                  <a:pt x="7744778" y="372428"/>
                  <a:pt x="7395210" y="612458"/>
                  <a:pt x="7074218" y="742950"/>
                </a:cubicBezTo>
                <a:cubicBezTo>
                  <a:pt x="6806565" y="851535"/>
                  <a:pt x="6557963" y="883920"/>
                  <a:pt x="6334125" y="840105"/>
                </a:cubicBezTo>
                <a:cubicBezTo>
                  <a:pt x="5966460" y="767715"/>
                  <a:pt x="5748338" y="499110"/>
                  <a:pt x="5673090" y="344805"/>
                </a:cubicBezTo>
                <a:cubicBezTo>
                  <a:pt x="5616893" y="341948"/>
                  <a:pt x="5344478" y="333375"/>
                  <a:pt x="5005388" y="433388"/>
                </a:cubicBezTo>
                <a:cubicBezTo>
                  <a:pt x="4654868" y="537210"/>
                  <a:pt x="4159568" y="781050"/>
                  <a:pt x="3786188" y="1356360"/>
                </a:cubicBezTo>
                <a:cubicBezTo>
                  <a:pt x="3674745" y="1528763"/>
                  <a:pt x="3578543" y="1741170"/>
                  <a:pt x="3475673" y="1966913"/>
                </a:cubicBezTo>
                <a:cubicBezTo>
                  <a:pt x="3255645" y="2452688"/>
                  <a:pt x="3006090" y="3002280"/>
                  <a:pt x="2500313" y="3420428"/>
                </a:cubicBezTo>
                <a:cubicBezTo>
                  <a:pt x="1979295" y="3850958"/>
                  <a:pt x="1276350" y="4061460"/>
                  <a:pt x="359093" y="4061460"/>
                </a:cubicBezTo>
                <a:close/>
              </a:path>
            </a:pathLst>
          </a:custGeom>
          <a:gradFill>
            <a:gsLst>
              <a:gs pos="92000">
                <a:schemeClr val="accent2">
                  <a:alpha val="0"/>
                </a:schemeClr>
              </a:gs>
              <a:gs pos="32000">
                <a:srgbClr val="12ABDB">
                  <a:alpha val="17000"/>
                </a:srgbClr>
              </a:gs>
              <a:gs pos="17000">
                <a:schemeClr val="accent2">
                  <a:alpha val="0"/>
                </a:schemeClr>
              </a:gs>
              <a:gs pos="49000">
                <a:srgbClr val="12ABDB"/>
              </a:gs>
              <a:gs pos="70000">
                <a:schemeClr val="accent2"/>
              </a:gs>
            </a:gsLst>
            <a:lin ang="540000" scaled="0"/>
          </a:gradFill>
          <a:ln w="9525" cap="flat">
            <a:noFill/>
            <a:prstDash val="solid"/>
            <a:miter/>
          </a:ln>
        </p:spPr>
        <p:txBody>
          <a:bodyPr rtlCol="0" anchor="ctr"/>
          <a:lstStyle/>
          <a:p>
            <a:endParaRPr lang="en-GB" dirty="0"/>
          </a:p>
        </p:txBody>
      </p:sp>
      <p:sp>
        <p:nvSpPr>
          <p:cNvPr id="3" name="Title 2">
            <a:extLst>
              <a:ext uri="{FF2B5EF4-FFF2-40B4-BE49-F238E27FC236}">
                <a16:creationId xmlns:a16="http://schemas.microsoft.com/office/drawing/2014/main" id="{C848BA6D-2927-44B8-ACA6-7A2F73E5B792}"/>
              </a:ext>
            </a:extLst>
          </p:cNvPr>
          <p:cNvSpPr>
            <a:spLocks noGrp="1"/>
          </p:cNvSpPr>
          <p:nvPr>
            <p:ph type="ctrTitle"/>
          </p:nvPr>
        </p:nvSpPr>
        <p:spPr>
          <a:xfrm>
            <a:off x="309213" y="1496427"/>
            <a:ext cx="7779419" cy="1218795"/>
          </a:xfrm>
        </p:spPr>
        <p:txBody>
          <a:bodyPr/>
          <a:lstStyle/>
          <a:p>
            <a:r>
              <a:rPr lang="it-IT" sz="4400" b="0">
                <a:latin typeface="+mj-lt"/>
              </a:rPr>
              <a:t>NYL USA Engagement &amp;</a:t>
            </a:r>
            <a:br>
              <a:rPr lang="it-IT" sz="4400" b="0">
                <a:latin typeface="+mj-lt"/>
              </a:rPr>
            </a:br>
            <a:r>
              <a:rPr lang="it-IT" sz="4400" b="0">
                <a:latin typeface="+mj-lt"/>
              </a:rPr>
              <a:t>L &amp; A  CaPAbilities</a:t>
            </a:r>
            <a:endParaRPr lang="en-GB" sz="4400" b="0">
              <a:latin typeface="+mj-lt"/>
            </a:endParaRPr>
          </a:p>
        </p:txBody>
      </p:sp>
      <p:cxnSp>
        <p:nvCxnSpPr>
          <p:cNvPr id="29" name="Straight Connector 28">
            <a:extLst>
              <a:ext uri="{FF2B5EF4-FFF2-40B4-BE49-F238E27FC236}">
                <a16:creationId xmlns:a16="http://schemas.microsoft.com/office/drawing/2014/main" id="{AC1F4B47-7216-8CD2-BF8C-1E8A3671174B}"/>
              </a:ext>
            </a:extLst>
          </p:cNvPr>
          <p:cNvCxnSpPr>
            <a:cxnSpLocks/>
          </p:cNvCxnSpPr>
          <p:nvPr/>
        </p:nvCxnSpPr>
        <p:spPr>
          <a:xfrm>
            <a:off x="2562358" y="332656"/>
            <a:ext cx="0" cy="504056"/>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30" name="Image 5" descr="Une image contenant texte&#10;&#10;Description générée automatiquement">
            <a:extLst>
              <a:ext uri="{FF2B5EF4-FFF2-40B4-BE49-F238E27FC236}">
                <a16:creationId xmlns:a16="http://schemas.microsoft.com/office/drawing/2014/main" id="{4835C7DC-F192-5DD8-0272-2639302F876A}"/>
              </a:ext>
            </a:extLst>
          </p:cNvPr>
          <p:cNvPicPr>
            <a:picLocks noChangeAspect="1"/>
          </p:cNvPicPr>
          <p:nvPr/>
        </p:nvPicPr>
        <p:blipFill rotWithShape="1">
          <a:blip r:embed="rId3">
            <a:extLst>
              <a:ext uri="{28A0092B-C50C-407E-A947-70E740481C1C}">
                <a14:useLocalDpi xmlns:a14="http://schemas.microsoft.com/office/drawing/2010/main" val="0"/>
              </a:ext>
            </a:extLst>
          </a:blip>
          <a:srcRect l="7144" r="10846"/>
          <a:stretch/>
        </p:blipFill>
        <p:spPr>
          <a:xfrm>
            <a:off x="124719" y="116632"/>
            <a:ext cx="2282991" cy="1128780"/>
          </a:xfrm>
          <a:prstGeom prst="rect">
            <a:avLst/>
          </a:prstGeom>
        </p:spPr>
      </p:pic>
      <p:pic>
        <p:nvPicPr>
          <p:cNvPr id="32" name="Picture 12" descr="Seguros Monterrey New York Life - Logo">
            <a:extLst>
              <a:ext uri="{FF2B5EF4-FFF2-40B4-BE49-F238E27FC236}">
                <a16:creationId xmlns:a16="http://schemas.microsoft.com/office/drawing/2014/main" id="{90727C1E-0687-6D32-189E-953B420DC15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007768" y="368846"/>
            <a:ext cx="2256387" cy="503926"/>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32">
            <a:extLst>
              <a:ext uri="{FF2B5EF4-FFF2-40B4-BE49-F238E27FC236}">
                <a16:creationId xmlns:a16="http://schemas.microsoft.com/office/drawing/2014/main" id="{A64C931E-B1FD-4373-591B-3A5FB5F21767}"/>
              </a:ext>
            </a:extLst>
          </p:cNvPr>
          <p:cNvPicPr>
            <a:picLocks noChangeAspect="1"/>
          </p:cNvPicPr>
          <p:nvPr/>
        </p:nvPicPr>
        <p:blipFill rotWithShape="1">
          <a:blip r:embed="rId5"/>
          <a:srcRect l="4075" b="18297"/>
          <a:stretch/>
        </p:blipFill>
        <p:spPr>
          <a:xfrm>
            <a:off x="309213" y="5157192"/>
            <a:ext cx="4058595" cy="787005"/>
          </a:xfrm>
          <a:prstGeom prst="rect">
            <a:avLst/>
          </a:prstGeom>
        </p:spPr>
      </p:pic>
      <p:pic>
        <p:nvPicPr>
          <p:cNvPr id="1028" name="Picture 4" descr="AWS and Splunk">
            <a:extLst>
              <a:ext uri="{FF2B5EF4-FFF2-40B4-BE49-F238E27FC236}">
                <a16:creationId xmlns:a16="http://schemas.microsoft.com/office/drawing/2014/main" id="{6B444E56-7467-3137-0707-25470F06E9A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6295" t="23561" r="61221" b="21911"/>
          <a:stretch/>
        </p:blipFill>
        <p:spPr bwMode="auto">
          <a:xfrm>
            <a:off x="2738274" y="368846"/>
            <a:ext cx="875293" cy="587706"/>
          </a:xfrm>
          <a:prstGeom prst="rect">
            <a:avLst/>
          </a:prstGeom>
          <a:noFill/>
          <a:extLst>
            <a:ext uri="{909E8E84-426E-40DD-AFC4-6F175D3DCCD1}">
              <a14:hiddenFill xmlns:a14="http://schemas.microsoft.com/office/drawing/2010/main">
                <a:solidFill>
                  <a:srgbClr val="FFFFFF"/>
                </a:solidFill>
              </a14:hiddenFill>
            </a:ext>
          </a:extLst>
        </p:spPr>
      </p:pic>
      <p:cxnSp>
        <p:nvCxnSpPr>
          <p:cNvPr id="6" name="Straight Connector 5">
            <a:extLst>
              <a:ext uri="{FF2B5EF4-FFF2-40B4-BE49-F238E27FC236}">
                <a16:creationId xmlns:a16="http://schemas.microsoft.com/office/drawing/2014/main" id="{12587590-D3D3-6776-1C48-9E19BE7B2F00}"/>
              </a:ext>
            </a:extLst>
          </p:cNvPr>
          <p:cNvCxnSpPr>
            <a:cxnSpLocks/>
          </p:cNvCxnSpPr>
          <p:nvPr/>
        </p:nvCxnSpPr>
        <p:spPr>
          <a:xfrm>
            <a:off x="3791744" y="332656"/>
            <a:ext cx="0" cy="504056"/>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8B60EE32-B7E2-4A1D-D199-C2320BCBD730}"/>
              </a:ext>
            </a:extLst>
          </p:cNvPr>
          <p:cNvSpPr txBox="1"/>
          <p:nvPr/>
        </p:nvSpPr>
        <p:spPr>
          <a:xfrm>
            <a:off x="124719" y="3167041"/>
            <a:ext cx="4727837" cy="2492990"/>
          </a:xfrm>
          <a:prstGeom prst="rect">
            <a:avLst/>
          </a:prstGeom>
          <a:noFill/>
        </p:spPr>
        <p:txBody>
          <a:bodyPr wrap="square" rtlCol="0">
            <a:spAutoFit/>
          </a:bodyPr>
          <a:lstStyle/>
          <a:p>
            <a:r>
              <a:rPr lang="es-MX" sz="2200">
                <a:solidFill>
                  <a:schemeClr val="bg1"/>
                </a:solidFill>
              </a:rPr>
              <a:t>Unnikrishnan Menon</a:t>
            </a:r>
          </a:p>
          <a:p>
            <a:r>
              <a:rPr lang="es-MX" sz="1400">
                <a:solidFill>
                  <a:schemeClr val="bg1"/>
                </a:solidFill>
              </a:rPr>
              <a:t>Senior Director | </a:t>
            </a:r>
            <a:r>
              <a:rPr lang="es-MX" sz="1400" err="1">
                <a:solidFill>
                  <a:schemeClr val="bg1"/>
                </a:solidFill>
              </a:rPr>
              <a:t>Delivery</a:t>
            </a:r>
            <a:r>
              <a:rPr lang="es-MX" sz="1400">
                <a:solidFill>
                  <a:schemeClr val="bg1"/>
                </a:solidFill>
              </a:rPr>
              <a:t> Executive </a:t>
            </a:r>
            <a:r>
              <a:rPr lang="es-MX" sz="1400" err="1">
                <a:solidFill>
                  <a:schemeClr val="bg1"/>
                </a:solidFill>
              </a:rPr>
              <a:t>for</a:t>
            </a:r>
            <a:r>
              <a:rPr lang="es-MX" sz="1400">
                <a:solidFill>
                  <a:schemeClr val="bg1"/>
                </a:solidFill>
              </a:rPr>
              <a:t> NYL</a:t>
            </a:r>
          </a:p>
          <a:p>
            <a:endParaRPr lang="es-MX" sz="2400">
              <a:solidFill>
                <a:schemeClr val="bg1"/>
              </a:solidFill>
            </a:endParaRPr>
          </a:p>
          <a:p>
            <a:r>
              <a:rPr lang="es-MX" sz="2200">
                <a:solidFill>
                  <a:schemeClr val="bg1"/>
                </a:solidFill>
              </a:rPr>
              <a:t>Aruna Mahesh</a:t>
            </a:r>
          </a:p>
          <a:p>
            <a:r>
              <a:rPr lang="es-MX" sz="1400">
                <a:solidFill>
                  <a:schemeClr val="bg1"/>
                </a:solidFill>
              </a:rPr>
              <a:t>Vice </a:t>
            </a:r>
            <a:r>
              <a:rPr lang="es-MX" sz="1400" err="1">
                <a:solidFill>
                  <a:schemeClr val="bg1"/>
                </a:solidFill>
              </a:rPr>
              <a:t>President</a:t>
            </a:r>
            <a:r>
              <a:rPr lang="es-MX" sz="1400">
                <a:solidFill>
                  <a:schemeClr val="bg1"/>
                </a:solidFill>
              </a:rPr>
              <a:t> | Global </a:t>
            </a:r>
            <a:r>
              <a:rPr lang="es-MX" sz="1400" err="1">
                <a:solidFill>
                  <a:schemeClr val="bg1"/>
                </a:solidFill>
              </a:rPr>
              <a:t>Life</a:t>
            </a:r>
            <a:r>
              <a:rPr lang="es-MX" sz="1400">
                <a:solidFill>
                  <a:schemeClr val="bg1"/>
                </a:solidFill>
              </a:rPr>
              <a:t> Insurance </a:t>
            </a:r>
            <a:r>
              <a:rPr lang="es-MX" sz="1400" err="1">
                <a:solidFill>
                  <a:schemeClr val="bg1"/>
                </a:solidFill>
              </a:rPr>
              <a:t>Practice</a:t>
            </a:r>
            <a:r>
              <a:rPr lang="es-MX" sz="1400">
                <a:solidFill>
                  <a:schemeClr val="bg1"/>
                </a:solidFill>
              </a:rPr>
              <a:t> Leader</a:t>
            </a:r>
          </a:p>
          <a:p>
            <a:endParaRPr lang="es-MX" sz="1400" b="1">
              <a:solidFill>
                <a:schemeClr val="bg1"/>
              </a:solidFill>
            </a:endParaRPr>
          </a:p>
          <a:p>
            <a:br>
              <a:rPr lang="es-MX" sz="2400" dirty="0">
                <a:solidFill>
                  <a:schemeClr val="bg1"/>
                </a:solidFill>
              </a:rPr>
            </a:br>
            <a:endParaRPr lang="es-MX" dirty="0">
              <a:solidFill>
                <a:schemeClr val="bg1"/>
              </a:solidFill>
            </a:endParaRPr>
          </a:p>
        </p:txBody>
      </p:sp>
      <p:sp>
        <p:nvSpPr>
          <p:cNvPr id="7" name="Oval 6">
            <a:extLst>
              <a:ext uri="{FF2B5EF4-FFF2-40B4-BE49-F238E27FC236}">
                <a16:creationId xmlns:a16="http://schemas.microsoft.com/office/drawing/2014/main" id="{B614D1F6-5655-B37D-B175-63CBE904784C}"/>
              </a:ext>
            </a:extLst>
          </p:cNvPr>
          <p:cNvSpPr/>
          <p:nvPr/>
        </p:nvSpPr>
        <p:spPr>
          <a:xfrm>
            <a:off x="4655337" y="2960179"/>
            <a:ext cx="872103" cy="861624"/>
          </a:xfrm>
          <a:prstGeom prst="ellipse">
            <a:avLst/>
          </a:prstGeom>
          <a:blipFill>
            <a:blip r:embed="rId7"/>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err="1"/>
          </a:p>
        </p:txBody>
      </p:sp>
      <p:sp>
        <p:nvSpPr>
          <p:cNvPr id="8" name="Oval 7">
            <a:extLst>
              <a:ext uri="{FF2B5EF4-FFF2-40B4-BE49-F238E27FC236}">
                <a16:creationId xmlns:a16="http://schemas.microsoft.com/office/drawing/2014/main" id="{EBBED84B-4A1B-5395-9315-B5C1A6AD7069}"/>
              </a:ext>
            </a:extLst>
          </p:cNvPr>
          <p:cNvSpPr/>
          <p:nvPr/>
        </p:nvSpPr>
        <p:spPr>
          <a:xfrm>
            <a:off x="4655338" y="4144636"/>
            <a:ext cx="872103" cy="861624"/>
          </a:xfrm>
          <a:prstGeom prst="ellipse">
            <a:avLst/>
          </a:prstGeom>
          <a:blipFill>
            <a:blip r:embed="rId8"/>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err="1"/>
          </a:p>
        </p:txBody>
      </p:sp>
    </p:spTree>
    <p:extLst>
      <p:ext uri="{BB962C8B-B14F-4D97-AF65-F5344CB8AC3E}">
        <p14:creationId xmlns:p14="http://schemas.microsoft.com/office/powerpoint/2010/main" val="2134498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DB14B3F9-FD13-FFF5-8499-21966214AE0C}"/>
              </a:ext>
            </a:extLst>
          </p:cNvPr>
          <p:cNvGrpSpPr/>
          <p:nvPr/>
        </p:nvGrpSpPr>
        <p:grpSpPr>
          <a:xfrm>
            <a:off x="8449517" y="1063458"/>
            <a:ext cx="3556427" cy="5358157"/>
            <a:chOff x="237455" y="1041583"/>
            <a:chExt cx="3556427" cy="5358157"/>
          </a:xfrm>
        </p:grpSpPr>
        <p:sp>
          <p:nvSpPr>
            <p:cNvPr id="268" name="Rectangle 267">
              <a:extLst>
                <a:ext uri="{FF2B5EF4-FFF2-40B4-BE49-F238E27FC236}">
                  <a16:creationId xmlns:a16="http://schemas.microsoft.com/office/drawing/2014/main" id="{B32D3C8A-2EDC-490E-98BB-E46EC107EBAE}"/>
                </a:ext>
              </a:extLst>
            </p:cNvPr>
            <p:cNvSpPr/>
            <p:nvPr/>
          </p:nvSpPr>
          <p:spPr>
            <a:xfrm>
              <a:off x="237455" y="1041583"/>
              <a:ext cx="3556427" cy="5358157"/>
            </a:xfrm>
            <a:prstGeom prst="rect">
              <a:avLst/>
            </a:prstGeom>
            <a:solidFill>
              <a:schemeClr val="bg1">
                <a:lumMod val="95000"/>
              </a:schemeClr>
            </a:solidFill>
          </p:spPr>
          <p:txBody>
            <a:bodyPr wrap="square" anchor="ctr" anchorCtr="0">
              <a:noAutofit/>
            </a:bodyPr>
            <a:lstStyle/>
            <a:p>
              <a:pPr marL="22225" marR="0" lvl="0" indent="0" algn="l" defTabSz="912813" rtl="0" eaLnBrk="1" fontAlgn="auto" latinLnBrk="0" hangingPunct="1">
                <a:lnSpc>
                  <a:spcPct val="100000"/>
                </a:lnSpc>
                <a:spcBef>
                  <a:spcPts val="0"/>
                </a:spcBef>
                <a:spcAft>
                  <a:spcPts val="0"/>
                </a:spcAft>
                <a:buClr>
                  <a:srgbClr val="0070AD"/>
                </a:buClr>
                <a:buSzTx/>
                <a:buFontTx/>
                <a:buNone/>
                <a:tabLst>
                  <a:tab pos="228600" algn="l"/>
                  <a:tab pos="6453188" algn="r"/>
                </a:tabLst>
                <a:defRPr/>
              </a:pPr>
              <a:endParaRPr kumimoji="0" lang="en-US" sz="1600" b="1" i="0" u="none" strike="noStrike" kern="1200" cap="none" spc="0" normalizeH="0" baseline="0" noProof="0">
                <a:ln>
                  <a:noFill/>
                </a:ln>
                <a:solidFill>
                  <a:prstClr val="black"/>
                </a:solidFill>
                <a:effectLst/>
                <a:uLnTx/>
                <a:uFillTx/>
                <a:latin typeface="Ubuntu" panose="020B0504030602030204" pitchFamily="34" charset="0"/>
                <a:ea typeface="+mn-ea"/>
                <a:cs typeface="Arial" panose="020B0604020202020204" pitchFamily="34" charset="0"/>
              </a:endParaRPr>
            </a:p>
            <a:p>
              <a:pPr marL="22225" marR="0" lvl="0" indent="0" algn="l" defTabSz="912813" rtl="0" eaLnBrk="1" fontAlgn="auto" latinLnBrk="0" hangingPunct="1">
                <a:lnSpc>
                  <a:spcPct val="100000"/>
                </a:lnSpc>
                <a:spcBef>
                  <a:spcPts val="0"/>
                </a:spcBef>
                <a:spcAft>
                  <a:spcPts val="0"/>
                </a:spcAft>
                <a:buClr>
                  <a:srgbClr val="0070AD"/>
                </a:buClr>
                <a:buSzTx/>
                <a:buFontTx/>
                <a:buNone/>
                <a:tabLst>
                  <a:tab pos="228600" algn="l"/>
                  <a:tab pos="6453188" algn="r"/>
                </a:tabLst>
                <a:defRPr/>
              </a:pPr>
              <a:endParaRPr kumimoji="0" lang="en-US" sz="1600" b="1" i="0" u="none" strike="noStrike" kern="1200" cap="none" spc="0" normalizeH="0" baseline="0" noProof="0">
                <a:ln>
                  <a:noFill/>
                </a:ln>
                <a:solidFill>
                  <a:prstClr val="black"/>
                </a:solidFill>
                <a:effectLst/>
                <a:uLnTx/>
                <a:uFillTx/>
                <a:latin typeface="Ubuntu" panose="020B0504030602030204" pitchFamily="34" charset="0"/>
                <a:ea typeface="+mn-ea"/>
                <a:cs typeface="Arial" panose="020B0604020202020204" pitchFamily="34" charset="0"/>
              </a:endParaRPr>
            </a:p>
            <a:p>
              <a:pPr marL="22225" marR="0" lvl="0" indent="0" algn="l" defTabSz="912813" rtl="0" eaLnBrk="1" fontAlgn="auto" latinLnBrk="0" hangingPunct="1">
                <a:lnSpc>
                  <a:spcPct val="100000"/>
                </a:lnSpc>
                <a:spcBef>
                  <a:spcPts val="0"/>
                </a:spcBef>
                <a:spcAft>
                  <a:spcPts val="0"/>
                </a:spcAft>
                <a:buClr>
                  <a:srgbClr val="0070AD"/>
                </a:buClr>
                <a:buSzTx/>
                <a:buFontTx/>
                <a:buNone/>
                <a:tabLst>
                  <a:tab pos="228600" algn="l"/>
                  <a:tab pos="6453188" algn="r"/>
                </a:tabLst>
                <a:defRPr/>
              </a:pPr>
              <a:r>
                <a:rPr kumimoji="0" lang="en-US" sz="1600" b="1" i="0" u="none" strike="noStrike" kern="1200" cap="none" spc="0" normalizeH="0" baseline="0" noProof="0">
                  <a:ln>
                    <a:noFill/>
                  </a:ln>
                  <a:solidFill>
                    <a:prstClr val="black"/>
                  </a:solidFill>
                  <a:effectLst/>
                  <a:uLnTx/>
                  <a:uFillTx/>
                  <a:latin typeface="Ubuntu" panose="020B0504030602030204" pitchFamily="34" charset="0"/>
                  <a:ea typeface="+mn-ea"/>
                  <a:cs typeface="Arial" panose="020B0604020202020204" pitchFamily="34" charset="0"/>
                </a:rPr>
                <a:t>Key Relationships:</a:t>
              </a:r>
            </a:p>
            <a:p>
              <a:pPr marL="307975" marR="0" lvl="0" indent="-285750" algn="l" defTabSz="912813" rtl="0" eaLnBrk="1" fontAlgn="auto" latinLnBrk="0" hangingPunct="1">
                <a:lnSpc>
                  <a:spcPct val="100000"/>
                </a:lnSpc>
                <a:spcBef>
                  <a:spcPts val="0"/>
                </a:spcBef>
                <a:spcAft>
                  <a:spcPts val="0"/>
                </a:spcAft>
                <a:buClr>
                  <a:srgbClr val="0070AD"/>
                </a:buClr>
                <a:buSzTx/>
                <a:buFont typeface="Wingdings" panose="05000000000000000000" pitchFamily="2" charset="2"/>
                <a:buChar char="§"/>
                <a:tabLst>
                  <a:tab pos="228600" algn="l"/>
                  <a:tab pos="6453188" algn="r"/>
                </a:tabLst>
                <a:defRPr/>
              </a:pPr>
              <a:endParaRPr kumimoji="0" lang="en-US" sz="1600" b="1" i="0" u="none" strike="noStrike" kern="1200" cap="none" spc="0" normalizeH="0" baseline="0" noProof="0">
                <a:ln>
                  <a:noFill/>
                </a:ln>
                <a:solidFill>
                  <a:prstClr val="black"/>
                </a:solidFill>
                <a:effectLst/>
                <a:uLnTx/>
                <a:uFillTx/>
                <a:latin typeface="Ubuntu" panose="020B0504030602030204" pitchFamily="34" charset="0"/>
                <a:ea typeface="+mn-ea"/>
                <a:cs typeface="Arial" panose="020B0604020202020204" pitchFamily="34" charset="0"/>
              </a:endParaRPr>
            </a:p>
            <a:p>
              <a:pPr marL="307975" marR="0" lvl="0" indent="-285750" algn="l" defTabSz="912813" rtl="0" eaLnBrk="1" fontAlgn="auto" latinLnBrk="0" hangingPunct="1">
                <a:lnSpc>
                  <a:spcPct val="100000"/>
                </a:lnSpc>
                <a:spcBef>
                  <a:spcPts val="0"/>
                </a:spcBef>
                <a:spcAft>
                  <a:spcPts val="0"/>
                </a:spcAft>
                <a:buClr>
                  <a:srgbClr val="0070AD"/>
                </a:buClr>
                <a:buSzTx/>
                <a:buFont typeface="Wingdings" panose="05000000000000000000" pitchFamily="2" charset="2"/>
                <a:buChar char="§"/>
                <a:tabLst>
                  <a:tab pos="228600" algn="l"/>
                  <a:tab pos="6453188" algn="r"/>
                </a:tabLst>
                <a:defRPr/>
              </a:pPr>
              <a:r>
                <a:rPr kumimoji="0" lang="en-US" sz="1400" b="1" i="0" u="none" strike="noStrike" kern="1200" cap="none" spc="0" normalizeH="0" baseline="0" noProof="0">
                  <a:ln>
                    <a:noFill/>
                  </a:ln>
                  <a:solidFill>
                    <a:prstClr val="black"/>
                  </a:solidFill>
                  <a:effectLst/>
                  <a:uLnTx/>
                  <a:uFillTx/>
                  <a:latin typeface="Ubuntu" panose="020B0504030602030204" pitchFamily="34" charset="0"/>
                  <a:ea typeface="+mn-ea"/>
                  <a:cs typeface="Arial" panose="020B0604020202020204" pitchFamily="34" charset="0"/>
                </a:rPr>
                <a:t>Bill Cassidy - </a:t>
              </a:r>
              <a:r>
                <a:rPr kumimoji="0" lang="en-US" sz="1200" b="0" i="0" u="none" strike="noStrike" kern="1200" cap="none" spc="0" normalizeH="0" baseline="0" noProof="0">
                  <a:ln>
                    <a:noFill/>
                  </a:ln>
                  <a:solidFill>
                    <a:prstClr val="black"/>
                  </a:solidFill>
                  <a:effectLst/>
                  <a:uLnTx/>
                  <a:uFillTx/>
                  <a:latin typeface="Ubuntu" panose="020B0504030602030204" pitchFamily="34" charset="0"/>
                  <a:ea typeface="+mn-ea"/>
                  <a:cs typeface="Arial" panose="020B0604020202020204" pitchFamily="34" charset="0"/>
                </a:rPr>
                <a:t>Executive Sponsor for Capgemini</a:t>
              </a:r>
              <a:endParaRPr kumimoji="0" lang="en-US" sz="1400" b="0" i="0" u="none" strike="noStrike" kern="1200" cap="none" spc="0" normalizeH="0" baseline="0" noProof="0">
                <a:ln>
                  <a:noFill/>
                </a:ln>
                <a:solidFill>
                  <a:prstClr val="black"/>
                </a:solidFill>
                <a:effectLst/>
                <a:uLnTx/>
                <a:uFillTx/>
                <a:latin typeface="Ubuntu" panose="020B0504030602030204" pitchFamily="34" charset="0"/>
                <a:ea typeface="+mn-ea"/>
                <a:cs typeface="Arial" panose="020B0604020202020204" pitchFamily="34" charset="0"/>
              </a:endParaRPr>
            </a:p>
            <a:p>
              <a:pPr marL="307975" marR="0" lvl="0" indent="-285750" algn="l" defTabSz="912813" rtl="0" eaLnBrk="1" fontAlgn="auto" latinLnBrk="0" hangingPunct="1">
                <a:lnSpc>
                  <a:spcPct val="100000"/>
                </a:lnSpc>
                <a:spcBef>
                  <a:spcPts val="0"/>
                </a:spcBef>
                <a:spcAft>
                  <a:spcPts val="0"/>
                </a:spcAft>
                <a:buClr>
                  <a:srgbClr val="0070AD"/>
                </a:buClr>
                <a:buSzTx/>
                <a:buFont typeface="Wingdings" panose="05000000000000000000" pitchFamily="2" charset="2"/>
                <a:buChar char="§"/>
                <a:tabLst>
                  <a:tab pos="228600" algn="l"/>
                  <a:tab pos="6453188" algn="r"/>
                </a:tabLst>
                <a:defRPr/>
              </a:pPr>
              <a:endParaRPr kumimoji="0" lang="en-US" sz="1400" b="1" i="0" u="none" strike="noStrike" kern="1200" cap="none" spc="0" normalizeH="0" baseline="0" noProof="0">
                <a:ln>
                  <a:noFill/>
                </a:ln>
                <a:solidFill>
                  <a:prstClr val="black"/>
                </a:solidFill>
                <a:effectLst/>
                <a:uLnTx/>
                <a:uFillTx/>
                <a:latin typeface="Ubuntu" panose="020B0504030602030204" pitchFamily="34" charset="0"/>
                <a:ea typeface="+mn-ea"/>
                <a:cs typeface="Arial" panose="020B0604020202020204" pitchFamily="34" charset="0"/>
              </a:endParaRPr>
            </a:p>
            <a:p>
              <a:pPr marL="307975" marR="0" lvl="0" indent="-285750" algn="l" defTabSz="912813" rtl="0" eaLnBrk="1" fontAlgn="auto" latinLnBrk="0" hangingPunct="1">
                <a:lnSpc>
                  <a:spcPct val="100000"/>
                </a:lnSpc>
                <a:spcBef>
                  <a:spcPts val="0"/>
                </a:spcBef>
                <a:spcAft>
                  <a:spcPts val="0"/>
                </a:spcAft>
                <a:buClr>
                  <a:srgbClr val="0070AD"/>
                </a:buClr>
                <a:buSzTx/>
                <a:buFont typeface="Wingdings" panose="05000000000000000000" pitchFamily="2" charset="2"/>
                <a:buChar char="§"/>
                <a:tabLst>
                  <a:tab pos="228600" algn="l"/>
                  <a:tab pos="6453188" algn="r"/>
                </a:tabLst>
                <a:defRPr/>
              </a:pPr>
              <a:r>
                <a:rPr kumimoji="0" lang="en-US" sz="1400" b="1" i="0" u="none" strike="noStrike" kern="1200" cap="none" spc="0" normalizeH="0" baseline="0" noProof="0">
                  <a:ln>
                    <a:noFill/>
                  </a:ln>
                  <a:solidFill>
                    <a:prstClr val="black"/>
                  </a:solidFill>
                  <a:effectLst/>
                  <a:uLnTx/>
                  <a:uFillTx/>
                  <a:latin typeface="Ubuntu" panose="020B0504030602030204" pitchFamily="34" charset="0"/>
                  <a:ea typeface="+mn-ea"/>
                  <a:cs typeface="Arial" panose="020B0604020202020204" pitchFamily="34" charset="0"/>
                </a:rPr>
                <a:t>Betty Smith - </a:t>
              </a:r>
              <a:r>
                <a:rPr kumimoji="0" lang="en-US" sz="1200" b="0" i="0" u="none" strike="noStrike" kern="1200" cap="none" spc="0" normalizeH="0" baseline="0" noProof="0">
                  <a:ln>
                    <a:noFill/>
                  </a:ln>
                  <a:solidFill>
                    <a:prstClr val="black"/>
                  </a:solidFill>
                  <a:effectLst/>
                  <a:uLnTx/>
                  <a:uFillTx/>
                  <a:latin typeface="Ubuntu" panose="020B0504030602030204" pitchFamily="34" charset="0"/>
                  <a:ea typeface="+mn-ea"/>
                  <a:cs typeface="Arial" panose="020B0604020202020204" pitchFamily="34" charset="0"/>
                </a:rPr>
                <a:t>Chief Operating Office, Accountable Executive Officer for sourcing strategy </a:t>
              </a:r>
            </a:p>
            <a:p>
              <a:pPr marL="307975" marR="0" lvl="0" indent="-285750" algn="l" defTabSz="912813" rtl="0" eaLnBrk="1" fontAlgn="auto" latinLnBrk="0" hangingPunct="1">
                <a:lnSpc>
                  <a:spcPct val="100000"/>
                </a:lnSpc>
                <a:spcBef>
                  <a:spcPts val="0"/>
                </a:spcBef>
                <a:spcAft>
                  <a:spcPts val="0"/>
                </a:spcAft>
                <a:buClr>
                  <a:srgbClr val="0070AD"/>
                </a:buClr>
                <a:buSzTx/>
                <a:buFont typeface="Wingdings" panose="05000000000000000000" pitchFamily="2" charset="2"/>
                <a:buChar char="§"/>
                <a:tabLst>
                  <a:tab pos="228600" algn="l"/>
                  <a:tab pos="6453188" algn="r"/>
                </a:tabLst>
                <a:defRPr/>
              </a:pPr>
              <a:endParaRPr kumimoji="0" lang="en-US" sz="1400" b="1" i="0" u="none" strike="noStrike" kern="1200" cap="none" spc="0" normalizeH="0" baseline="0" noProof="0">
                <a:ln>
                  <a:noFill/>
                </a:ln>
                <a:solidFill>
                  <a:prstClr val="black"/>
                </a:solidFill>
                <a:effectLst/>
                <a:uLnTx/>
                <a:uFillTx/>
                <a:latin typeface="Ubuntu" panose="020B0504030602030204" pitchFamily="34" charset="0"/>
                <a:ea typeface="+mn-ea"/>
                <a:cs typeface="Arial" panose="020B0604020202020204" pitchFamily="34" charset="0"/>
              </a:endParaRPr>
            </a:p>
            <a:p>
              <a:pPr marL="307975" marR="0" lvl="0" indent="-285750" algn="l" defTabSz="912813" rtl="0" eaLnBrk="1" fontAlgn="auto" latinLnBrk="0" hangingPunct="1">
                <a:lnSpc>
                  <a:spcPct val="100000"/>
                </a:lnSpc>
                <a:spcBef>
                  <a:spcPts val="0"/>
                </a:spcBef>
                <a:spcAft>
                  <a:spcPts val="0"/>
                </a:spcAft>
                <a:buClr>
                  <a:srgbClr val="0070AD"/>
                </a:buClr>
                <a:buSzTx/>
                <a:buFont typeface="Wingdings" panose="05000000000000000000" pitchFamily="2" charset="2"/>
                <a:buChar char="§"/>
                <a:tabLst>
                  <a:tab pos="228600" algn="l"/>
                  <a:tab pos="6453188" algn="r"/>
                </a:tabLst>
                <a:defRPr/>
              </a:pPr>
              <a:r>
                <a:rPr kumimoji="0" lang="en-US" sz="1400" b="1" i="0" u="none" strike="noStrike" kern="1200" cap="none" spc="0" normalizeH="0" baseline="0" noProof="0">
                  <a:ln>
                    <a:noFill/>
                  </a:ln>
                  <a:solidFill>
                    <a:prstClr val="black"/>
                  </a:solidFill>
                  <a:effectLst/>
                  <a:uLnTx/>
                  <a:uFillTx/>
                  <a:latin typeface="Ubuntu" panose="020B0504030602030204" pitchFamily="34" charset="0"/>
                  <a:ea typeface="+mn-ea"/>
                  <a:cs typeface="Arial" panose="020B0604020202020204" pitchFamily="34" charset="0"/>
                </a:rPr>
                <a:t>Bill Mount - </a:t>
              </a:r>
              <a:r>
                <a:rPr kumimoji="0" lang="en-US" sz="1200" b="0" i="0" u="none" strike="noStrike" kern="1200" cap="none" spc="0" normalizeH="0" baseline="0" noProof="0">
                  <a:ln>
                    <a:noFill/>
                  </a:ln>
                  <a:solidFill>
                    <a:prstClr val="black"/>
                  </a:solidFill>
                  <a:effectLst/>
                  <a:uLnTx/>
                  <a:uFillTx/>
                  <a:latin typeface="Ubuntu" panose="020B0504030602030204" pitchFamily="34" charset="0"/>
                  <a:ea typeface="+mn-ea"/>
                  <a:cs typeface="Arial" panose="020B0604020202020204" pitchFamily="34" charset="0"/>
                </a:rPr>
                <a:t>Head of Application Support Center for Enablement </a:t>
              </a:r>
              <a:endParaRPr kumimoji="0" lang="en-US" sz="1400" b="0" i="0" u="none" strike="noStrike" kern="1200" cap="none" spc="0" normalizeH="0" baseline="0" noProof="0">
                <a:ln>
                  <a:noFill/>
                </a:ln>
                <a:solidFill>
                  <a:prstClr val="black"/>
                </a:solidFill>
                <a:effectLst/>
                <a:uLnTx/>
                <a:uFillTx/>
                <a:latin typeface="Ubuntu" panose="020B0504030602030204" pitchFamily="34" charset="0"/>
                <a:ea typeface="+mn-ea"/>
                <a:cs typeface="Arial" panose="020B0604020202020204" pitchFamily="34" charset="0"/>
              </a:endParaRPr>
            </a:p>
            <a:p>
              <a:pPr marL="307975" marR="0" lvl="0" indent="-285750" algn="l" defTabSz="912813" rtl="0" eaLnBrk="1" fontAlgn="auto" latinLnBrk="0" hangingPunct="1">
                <a:lnSpc>
                  <a:spcPct val="100000"/>
                </a:lnSpc>
                <a:spcBef>
                  <a:spcPts val="0"/>
                </a:spcBef>
                <a:spcAft>
                  <a:spcPts val="0"/>
                </a:spcAft>
                <a:buClr>
                  <a:srgbClr val="0070AD"/>
                </a:buClr>
                <a:buSzTx/>
                <a:buFont typeface="Wingdings" panose="05000000000000000000" pitchFamily="2" charset="2"/>
                <a:buChar char="§"/>
                <a:tabLst>
                  <a:tab pos="228600" algn="l"/>
                  <a:tab pos="6453188" algn="r"/>
                </a:tabLst>
                <a:defRPr/>
              </a:pPr>
              <a:endParaRPr kumimoji="0" lang="en-US" sz="1400" b="1" i="0" u="none" strike="noStrike" kern="1200" cap="none" spc="0" normalizeH="0" baseline="0" noProof="0">
                <a:ln>
                  <a:noFill/>
                </a:ln>
                <a:solidFill>
                  <a:prstClr val="black"/>
                </a:solidFill>
                <a:effectLst/>
                <a:uLnTx/>
                <a:uFillTx/>
                <a:latin typeface="Ubuntu" panose="020B0504030602030204" pitchFamily="34" charset="0"/>
                <a:ea typeface="+mn-ea"/>
                <a:cs typeface="Arial" panose="020B0604020202020204" pitchFamily="34" charset="0"/>
              </a:endParaRPr>
            </a:p>
            <a:p>
              <a:pPr marL="307975" marR="0" lvl="0" indent="-285750" algn="l" defTabSz="912813" rtl="0" eaLnBrk="1" fontAlgn="auto" latinLnBrk="0" hangingPunct="1">
                <a:lnSpc>
                  <a:spcPct val="100000"/>
                </a:lnSpc>
                <a:spcBef>
                  <a:spcPts val="0"/>
                </a:spcBef>
                <a:spcAft>
                  <a:spcPts val="0"/>
                </a:spcAft>
                <a:buClr>
                  <a:srgbClr val="0070AD"/>
                </a:buClr>
                <a:buSzTx/>
                <a:buFont typeface="Wingdings" panose="05000000000000000000" pitchFamily="2" charset="2"/>
                <a:buChar char="§"/>
                <a:tabLst>
                  <a:tab pos="228600" algn="l"/>
                  <a:tab pos="6453188" algn="r"/>
                </a:tabLst>
                <a:defRPr/>
              </a:pPr>
              <a:r>
                <a:rPr kumimoji="0" lang="en-US" sz="1400" b="1" i="0" u="none" strike="noStrike" kern="1200" cap="none" spc="0" normalizeH="0" baseline="0" noProof="0">
                  <a:ln>
                    <a:noFill/>
                  </a:ln>
                  <a:solidFill>
                    <a:prstClr val="black"/>
                  </a:solidFill>
                  <a:effectLst/>
                  <a:uLnTx/>
                  <a:uFillTx/>
                  <a:latin typeface="Ubuntu" panose="020B0504030602030204" pitchFamily="34" charset="0"/>
                  <a:ea typeface="+mn-ea"/>
                  <a:cs typeface="Arial" panose="020B0604020202020204" pitchFamily="34" charset="0"/>
                </a:rPr>
                <a:t>Maryann Dias </a:t>
              </a:r>
              <a:r>
                <a:rPr kumimoji="0" lang="en-US" sz="1600" b="0" i="0" u="none" strike="noStrike" kern="1200" cap="none" spc="0" normalizeH="0" baseline="0" noProof="0">
                  <a:ln>
                    <a:noFill/>
                  </a:ln>
                  <a:solidFill>
                    <a:prstClr val="black"/>
                  </a:solidFill>
                  <a:effectLst/>
                  <a:uLnTx/>
                  <a:uFillTx/>
                  <a:latin typeface="Ubuntu" panose="020B0504030602030204" pitchFamily="34" charset="0"/>
                  <a:ea typeface="+mn-ea"/>
                  <a:cs typeface="Arial" panose="020B0604020202020204" pitchFamily="34" charset="0"/>
                </a:rPr>
                <a:t>- </a:t>
              </a:r>
              <a:r>
                <a:rPr kumimoji="0" lang="en-US" sz="1200" b="0" i="0" u="none" strike="noStrike" kern="1200" cap="none" spc="0" normalizeH="0" baseline="0" noProof="0">
                  <a:ln>
                    <a:noFill/>
                  </a:ln>
                  <a:solidFill>
                    <a:prstClr val="black"/>
                  </a:solidFill>
                  <a:effectLst/>
                  <a:uLnTx/>
                  <a:uFillTx/>
                  <a:latin typeface="Ubuntu" panose="020B0504030602030204" pitchFamily="34" charset="0"/>
                  <a:ea typeface="+mn-ea"/>
                  <a:cs typeface="Arial" panose="020B0604020202020204" pitchFamily="34" charset="0"/>
                </a:rPr>
                <a:t>Head of Enterprise Service Management</a:t>
              </a:r>
            </a:p>
            <a:p>
              <a:pPr marL="307975" marR="0" lvl="0" indent="-285750" algn="l" defTabSz="912813" rtl="0" eaLnBrk="1" fontAlgn="auto" latinLnBrk="0" hangingPunct="1">
                <a:lnSpc>
                  <a:spcPct val="100000"/>
                </a:lnSpc>
                <a:spcBef>
                  <a:spcPts val="0"/>
                </a:spcBef>
                <a:spcAft>
                  <a:spcPts val="0"/>
                </a:spcAft>
                <a:buClr>
                  <a:srgbClr val="0070AD"/>
                </a:buClr>
                <a:buSzTx/>
                <a:buFont typeface="Wingdings" panose="05000000000000000000" pitchFamily="2" charset="2"/>
                <a:buChar char="§"/>
                <a:tabLst>
                  <a:tab pos="228600" algn="l"/>
                  <a:tab pos="6453188" algn="r"/>
                </a:tabLst>
                <a:defRPr/>
              </a:pPr>
              <a:endParaRPr kumimoji="0" lang="en-US" sz="1400" b="1" i="0" u="none" strike="noStrike" kern="1200" cap="none" spc="0" normalizeH="0" baseline="0" noProof="0">
                <a:ln>
                  <a:noFill/>
                </a:ln>
                <a:solidFill>
                  <a:prstClr val="black"/>
                </a:solidFill>
                <a:effectLst/>
                <a:uLnTx/>
                <a:uFillTx/>
                <a:latin typeface="Ubuntu" panose="020B0504030602030204" pitchFamily="34" charset="0"/>
                <a:ea typeface="+mn-ea"/>
                <a:cs typeface="Arial" panose="020B0604020202020204" pitchFamily="34" charset="0"/>
              </a:endParaRPr>
            </a:p>
            <a:p>
              <a:pPr marL="307975" marR="0" lvl="0" indent="-285750" algn="l" defTabSz="912813" rtl="0" eaLnBrk="1" fontAlgn="auto" latinLnBrk="0" hangingPunct="1">
                <a:lnSpc>
                  <a:spcPct val="100000"/>
                </a:lnSpc>
                <a:spcBef>
                  <a:spcPts val="0"/>
                </a:spcBef>
                <a:spcAft>
                  <a:spcPts val="0"/>
                </a:spcAft>
                <a:buClr>
                  <a:srgbClr val="0070AD"/>
                </a:buClr>
                <a:buSzTx/>
                <a:buFont typeface="Wingdings" panose="05000000000000000000" pitchFamily="2" charset="2"/>
                <a:buChar char="§"/>
                <a:tabLst>
                  <a:tab pos="228600" algn="l"/>
                  <a:tab pos="6453188" algn="r"/>
                </a:tabLst>
                <a:defRPr/>
              </a:pPr>
              <a:r>
                <a:rPr kumimoji="0" lang="en-US" sz="1400" b="1" i="0" u="none" strike="noStrike" kern="1200" cap="none" spc="0" normalizeH="0" baseline="0" noProof="0">
                  <a:ln>
                    <a:noFill/>
                  </a:ln>
                  <a:solidFill>
                    <a:prstClr val="black"/>
                  </a:solidFill>
                  <a:effectLst/>
                  <a:uLnTx/>
                  <a:uFillTx/>
                  <a:latin typeface="Ubuntu" panose="020B0504030602030204" pitchFamily="34" charset="0"/>
                  <a:ea typeface="+mn-ea"/>
                  <a:cs typeface="Arial" panose="020B0604020202020204" pitchFamily="34" charset="0"/>
                </a:rPr>
                <a:t>Craig Broder - </a:t>
              </a:r>
              <a:r>
                <a:rPr kumimoji="0" lang="en-US" sz="1200" b="0" i="0" u="none" strike="noStrike" kern="1200" cap="none" spc="0" normalizeH="0" baseline="0" noProof="0">
                  <a:ln>
                    <a:noFill/>
                  </a:ln>
                  <a:solidFill>
                    <a:prstClr val="black"/>
                  </a:solidFill>
                  <a:effectLst/>
                  <a:uLnTx/>
                  <a:uFillTx/>
                  <a:latin typeface="Ubuntu" panose="020B0504030602030204" pitchFamily="34" charset="0"/>
                  <a:ea typeface="+mn-ea"/>
                  <a:cs typeface="Arial" panose="020B0604020202020204" pitchFamily="34" charset="0"/>
                </a:rPr>
                <a:t>Head of Technology Strategic Partnerships Office</a:t>
              </a:r>
            </a:p>
            <a:p>
              <a:pPr marL="22225" marR="0" lvl="0" indent="0" algn="l" defTabSz="912813" rtl="0" eaLnBrk="1" fontAlgn="auto" latinLnBrk="0" hangingPunct="1">
                <a:lnSpc>
                  <a:spcPct val="100000"/>
                </a:lnSpc>
                <a:spcBef>
                  <a:spcPts val="0"/>
                </a:spcBef>
                <a:spcAft>
                  <a:spcPts val="0"/>
                </a:spcAft>
                <a:buClr>
                  <a:srgbClr val="0070AD"/>
                </a:buClr>
                <a:buSzTx/>
                <a:buFontTx/>
                <a:buNone/>
                <a:tabLst>
                  <a:tab pos="228600" algn="l"/>
                  <a:tab pos="6453188" algn="r"/>
                </a:tabLst>
                <a:defRPr/>
              </a:pPr>
              <a:endParaRPr kumimoji="0" lang="en-US" sz="1400" b="0" i="0" u="none" strike="noStrike" kern="1200" cap="none" spc="0" normalizeH="0" baseline="0" noProof="0">
                <a:ln>
                  <a:noFill/>
                </a:ln>
                <a:solidFill>
                  <a:prstClr val="black"/>
                </a:solidFill>
                <a:effectLst/>
                <a:uLnTx/>
                <a:uFillTx/>
                <a:latin typeface="Ubuntu" panose="020B0504030602030204" pitchFamily="34" charset="0"/>
                <a:ea typeface="+mn-ea"/>
                <a:cs typeface="Arial" panose="020B0604020202020204" pitchFamily="34" charset="0"/>
              </a:endParaRPr>
            </a:p>
            <a:p>
              <a:pPr marL="307975" marR="0" lvl="0" indent="-285750" algn="l" defTabSz="912813" rtl="0" eaLnBrk="1" fontAlgn="auto" latinLnBrk="0" hangingPunct="1">
                <a:lnSpc>
                  <a:spcPct val="100000"/>
                </a:lnSpc>
                <a:spcBef>
                  <a:spcPts val="0"/>
                </a:spcBef>
                <a:spcAft>
                  <a:spcPts val="0"/>
                </a:spcAft>
                <a:buClr>
                  <a:srgbClr val="0070AD"/>
                </a:buClr>
                <a:buSzTx/>
                <a:buFont typeface="Wingdings" panose="05000000000000000000" pitchFamily="2" charset="2"/>
                <a:buChar char="§"/>
                <a:tabLst>
                  <a:tab pos="228600" algn="l"/>
                  <a:tab pos="6453188" algn="r"/>
                </a:tabLst>
                <a:defRPr/>
              </a:pPr>
              <a:r>
                <a:rPr kumimoji="0" lang="en-US" sz="1400" b="1" i="0" u="none" strike="noStrike" kern="1200" cap="none" spc="0" normalizeH="0" baseline="0" noProof="0">
                  <a:ln>
                    <a:noFill/>
                  </a:ln>
                  <a:solidFill>
                    <a:prstClr val="black"/>
                  </a:solidFill>
                  <a:effectLst/>
                  <a:uLnTx/>
                  <a:uFillTx/>
                  <a:latin typeface="Ubuntu" panose="020B0504030602030204" pitchFamily="34" charset="0"/>
                  <a:ea typeface="+mn-ea"/>
                  <a:cs typeface="Arial" panose="020B0604020202020204" pitchFamily="34" charset="0"/>
                </a:rPr>
                <a:t>Aaron Ball</a:t>
              </a:r>
              <a:r>
                <a:rPr kumimoji="0" lang="en-US" sz="1400" b="0" i="0" u="none" strike="noStrike" kern="1200" cap="none" spc="0" normalizeH="0" baseline="0" noProof="0">
                  <a:ln>
                    <a:noFill/>
                  </a:ln>
                  <a:solidFill>
                    <a:prstClr val="black"/>
                  </a:solidFill>
                  <a:effectLst/>
                  <a:uLnTx/>
                  <a:uFillTx/>
                  <a:latin typeface="Ubuntu" panose="020B0504030602030204" pitchFamily="34" charset="0"/>
                  <a:ea typeface="+mn-ea"/>
                  <a:cs typeface="Arial" panose="020B0604020202020204" pitchFamily="34" charset="0"/>
                </a:rPr>
                <a:t> - </a:t>
              </a:r>
              <a:r>
                <a:rPr kumimoji="0" lang="en-US" sz="1200" b="0" i="0" u="none" strike="noStrike" kern="1200" cap="none" spc="0" normalizeH="0" baseline="0" noProof="0">
                  <a:ln>
                    <a:noFill/>
                  </a:ln>
                  <a:solidFill>
                    <a:prstClr val="black"/>
                  </a:solidFill>
                  <a:effectLst/>
                  <a:uLnTx/>
                  <a:uFillTx/>
                  <a:latin typeface="Ubuntu" panose="020B0504030602030204" pitchFamily="34" charset="0"/>
                  <a:ea typeface="+mn-ea"/>
                  <a:cs typeface="Arial" panose="020B0604020202020204" pitchFamily="34" charset="0"/>
                </a:rPr>
                <a:t>Senior VP and Co-Head of the Foundational B</a:t>
              </a:r>
              <a:r>
                <a:rPr kumimoji="0" lang="en-US" sz="1200" b="0" i="0" u="none" strike="noStrike" kern="1200" cap="none" spc="0" normalizeH="0" baseline="0" noProof="0" err="1">
                  <a:ln>
                    <a:noFill/>
                  </a:ln>
                  <a:solidFill>
                    <a:prstClr val="black"/>
                  </a:solidFill>
                  <a:effectLst/>
                  <a:uLnTx/>
                  <a:uFillTx/>
                  <a:latin typeface="Ubuntu" panose="020B0504030602030204" pitchFamily="34" charset="0"/>
                  <a:ea typeface="+mn-ea"/>
                  <a:cs typeface="Arial" panose="020B0604020202020204" pitchFamily="34" charset="0"/>
                </a:rPr>
                <a:t>usiness</a:t>
              </a:r>
              <a:endParaRPr kumimoji="0" lang="en-US" sz="1200" b="0" i="0" u="none" strike="noStrike" kern="1200" cap="none" spc="0" normalizeH="0" baseline="0" noProof="0">
                <a:ln>
                  <a:noFill/>
                </a:ln>
                <a:solidFill>
                  <a:prstClr val="black"/>
                </a:solidFill>
                <a:effectLst/>
                <a:uLnTx/>
                <a:uFillTx/>
                <a:latin typeface="Ubuntu" panose="020B0504030602030204" pitchFamily="34" charset="0"/>
                <a:ea typeface="+mn-ea"/>
                <a:cs typeface="Arial" panose="020B0604020202020204" pitchFamily="34" charset="0"/>
              </a:endParaRPr>
            </a:p>
            <a:p>
              <a:pPr marL="307975" marR="0" lvl="0" indent="-285750" algn="l" defTabSz="912813" rtl="0" eaLnBrk="1" fontAlgn="auto" latinLnBrk="0" hangingPunct="1">
                <a:lnSpc>
                  <a:spcPct val="100000"/>
                </a:lnSpc>
                <a:spcBef>
                  <a:spcPts val="0"/>
                </a:spcBef>
                <a:spcAft>
                  <a:spcPts val="0"/>
                </a:spcAft>
                <a:buClr>
                  <a:srgbClr val="0070AD"/>
                </a:buClr>
                <a:buSzTx/>
                <a:buFont typeface="Arial" panose="020B0604020202020204" pitchFamily="34" charset="0"/>
                <a:buChar char="•"/>
                <a:tabLst>
                  <a:tab pos="228600" algn="l"/>
                  <a:tab pos="6453188" algn="r"/>
                </a:tabLst>
                <a:defRPr/>
              </a:pPr>
              <a:endParaRPr kumimoji="0" lang="en-US" sz="1200" b="0" i="0" u="none" strike="noStrike" kern="1200" cap="none" spc="0" normalizeH="0" baseline="0" noProof="0">
                <a:ln>
                  <a:noFill/>
                </a:ln>
                <a:solidFill>
                  <a:prstClr val="black"/>
                </a:solidFill>
                <a:effectLst/>
                <a:uLnTx/>
                <a:uFillTx/>
                <a:latin typeface="Ubuntu" panose="020B0504030602030204" pitchFamily="34" charset="0"/>
                <a:ea typeface="+mn-ea"/>
                <a:cs typeface="Arial" panose="020B0604020202020204" pitchFamily="34" charset="0"/>
              </a:endParaRPr>
            </a:p>
            <a:p>
              <a:pPr marL="307975" marR="0" lvl="0" indent="-285750" algn="l" defTabSz="912813" rtl="0" eaLnBrk="1" fontAlgn="auto" latinLnBrk="0" hangingPunct="1">
                <a:lnSpc>
                  <a:spcPct val="100000"/>
                </a:lnSpc>
                <a:spcBef>
                  <a:spcPts val="0"/>
                </a:spcBef>
                <a:spcAft>
                  <a:spcPts val="0"/>
                </a:spcAft>
                <a:buClr>
                  <a:srgbClr val="0070AD"/>
                </a:buClr>
                <a:buSzTx/>
                <a:buFont typeface="Wingdings" panose="05000000000000000000" pitchFamily="2" charset="2"/>
                <a:buChar char="§"/>
                <a:tabLst>
                  <a:tab pos="228600" algn="l"/>
                  <a:tab pos="6453188" algn="r"/>
                </a:tabLst>
                <a:defRPr/>
              </a:pPr>
              <a:r>
                <a:rPr kumimoji="0" lang="en-US" sz="1400" b="1" i="0" u="none" strike="noStrike" kern="1200" cap="none" spc="0" normalizeH="0" baseline="0" noProof="0">
                  <a:ln>
                    <a:noFill/>
                  </a:ln>
                  <a:solidFill>
                    <a:prstClr val="black"/>
                  </a:solidFill>
                  <a:effectLst/>
                  <a:uLnTx/>
                  <a:uFillTx/>
                  <a:latin typeface="Ubuntu" panose="020B0504030602030204" pitchFamily="34" charset="0"/>
                  <a:ea typeface="+mn-ea"/>
                  <a:cs typeface="Arial" panose="020B0604020202020204" pitchFamily="34" charset="0"/>
                </a:rPr>
                <a:t>Daniel Salvatore- </a:t>
              </a:r>
              <a:r>
                <a:rPr kumimoji="0" lang="en-US" sz="1200" b="0" i="0" u="none" strike="noStrike" kern="1200" cap="none" spc="0" normalizeH="0" baseline="0" noProof="0">
                  <a:ln>
                    <a:noFill/>
                  </a:ln>
                  <a:solidFill>
                    <a:prstClr val="black"/>
                  </a:solidFill>
                  <a:effectLst/>
                  <a:uLnTx/>
                  <a:uFillTx/>
                  <a:latin typeface="Ubuntu" panose="020B0504030602030204" pitchFamily="34" charset="0"/>
                  <a:ea typeface="+mn-ea"/>
                  <a:cs typeface="Arial" panose="020B0604020202020204" pitchFamily="34" charset="0"/>
                </a:rPr>
                <a:t>CIO Institutional Life</a:t>
              </a:r>
            </a:p>
            <a:p>
              <a:pPr marL="285750" marR="0" lvl="0" indent="-285750" algn="l" defTabSz="914377" rtl="0" eaLnBrk="1" fontAlgn="auto" latinLnBrk="0" hangingPunct="1">
                <a:lnSpc>
                  <a:spcPct val="100000"/>
                </a:lnSpc>
                <a:spcBef>
                  <a:spcPts val="400"/>
                </a:spcBef>
                <a:spcAft>
                  <a:spcPts val="0"/>
                </a:spcAft>
                <a:buClr>
                  <a:srgbClr val="0070AD"/>
                </a:buClr>
                <a:buSzTx/>
                <a:buFont typeface="Wingdings" panose="05000000000000000000" pitchFamily="2" charset="2"/>
                <a:buChar char="§"/>
                <a:tabLst/>
                <a:defRPr/>
              </a:pPr>
              <a:endParaRPr kumimoji="0" lang="en-US" sz="1200" b="0" i="0" u="none" strike="noStrike" kern="1200" cap="none" spc="0" normalizeH="0" baseline="0" noProof="0">
                <a:ln>
                  <a:noFill/>
                </a:ln>
                <a:solidFill>
                  <a:prstClr val="black"/>
                </a:solidFill>
                <a:effectLst/>
                <a:uLnTx/>
                <a:uFillTx/>
                <a:latin typeface="Ubuntu" panose="020B0504030602030204" pitchFamily="34" charset="0"/>
                <a:ea typeface="+mn-ea"/>
                <a:cs typeface="+mn-cs"/>
              </a:endParaRPr>
            </a:p>
          </p:txBody>
        </p:sp>
        <p:sp>
          <p:nvSpPr>
            <p:cNvPr id="4" name="Half Frame 3"/>
            <p:cNvSpPr/>
            <p:nvPr/>
          </p:nvSpPr>
          <p:spPr>
            <a:xfrm>
              <a:off x="237455" y="1041583"/>
              <a:ext cx="387385" cy="387385"/>
            </a:xfrm>
            <a:prstGeom prst="halfFrame">
              <a:avLst>
                <a:gd name="adj1" fmla="val 21112"/>
                <a:gd name="adj2" fmla="val 1823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sp>
          <p:nvSpPr>
            <p:cNvPr id="11" name="Half Frame 10"/>
            <p:cNvSpPr/>
            <p:nvPr/>
          </p:nvSpPr>
          <p:spPr>
            <a:xfrm rot="10800000">
              <a:off x="3406497" y="6012355"/>
              <a:ext cx="387385" cy="387385"/>
            </a:xfrm>
            <a:prstGeom prst="halfFrame">
              <a:avLst>
                <a:gd name="adj1" fmla="val 21112"/>
                <a:gd name="adj2" fmla="val 1823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grpSp>
      <p:grpSp>
        <p:nvGrpSpPr>
          <p:cNvPr id="20" name="Group 19">
            <a:extLst>
              <a:ext uri="{FF2B5EF4-FFF2-40B4-BE49-F238E27FC236}">
                <a16:creationId xmlns:a16="http://schemas.microsoft.com/office/drawing/2014/main" id="{8B506842-7110-7461-3CAC-EB814EF57500}"/>
              </a:ext>
            </a:extLst>
          </p:cNvPr>
          <p:cNvGrpSpPr/>
          <p:nvPr/>
        </p:nvGrpSpPr>
        <p:grpSpPr>
          <a:xfrm>
            <a:off x="66937" y="1063459"/>
            <a:ext cx="8276252" cy="5358156"/>
            <a:chOff x="83977" y="2006271"/>
            <a:chExt cx="8276252" cy="5358156"/>
          </a:xfrm>
        </p:grpSpPr>
        <p:sp>
          <p:nvSpPr>
            <p:cNvPr id="14" name="Rectangle 26">
              <a:extLst>
                <a:ext uri="{FF2B5EF4-FFF2-40B4-BE49-F238E27FC236}">
                  <a16:creationId xmlns:a16="http://schemas.microsoft.com/office/drawing/2014/main" id="{6C398215-E9A9-4325-92AC-441D5239AE7C}"/>
                </a:ext>
              </a:extLst>
            </p:cNvPr>
            <p:cNvSpPr>
              <a:spLocks noChangeArrowheads="1"/>
            </p:cNvSpPr>
            <p:nvPr/>
          </p:nvSpPr>
          <p:spPr bwMode="auto">
            <a:xfrm>
              <a:off x="83977" y="2006271"/>
              <a:ext cx="8276252" cy="5358156"/>
            </a:xfrm>
            <a:prstGeom prst="rect">
              <a:avLst/>
            </a:prstGeom>
            <a:solidFill>
              <a:schemeClr val="bg1">
                <a:lumMod val="95000"/>
              </a:schemeClr>
            </a:solidFill>
            <a:ln w="19050">
              <a:noFill/>
              <a:miter lim="800000"/>
              <a:headEnd/>
              <a:tailEnd/>
            </a:ln>
            <a:effectLst/>
          </p:spPr>
          <p:txBody>
            <a:bodyPr wrap="square" lIns="73152" tIns="73152" rIns="73152" bIns="73152" anchor="t">
              <a:noAutofit/>
            </a:bodyPr>
            <a:lstStyle/>
            <a:p>
              <a:pPr marL="0" marR="0" lvl="0" indent="0" algn="ctr" defTabSz="957756" rtl="0" eaLnBrk="1" fontAlgn="auto" latinLnBrk="0" hangingPunct="1">
                <a:lnSpc>
                  <a:spcPct val="100000"/>
                </a:lnSpc>
                <a:spcBef>
                  <a:spcPts val="0"/>
                </a:spcBef>
                <a:spcAft>
                  <a:spcPts val="300"/>
                </a:spcAft>
                <a:buClr>
                  <a:srgbClr val="FFFFFF"/>
                </a:buClr>
                <a:buSzTx/>
                <a:buFontTx/>
                <a:buNone/>
                <a:tabLst/>
                <a:defRPr/>
              </a:pPr>
              <a:r>
                <a:rPr kumimoji="0" lang="en-US" sz="1400" b="1" i="0" u="none" strike="noStrike" kern="0" cap="none" spc="0" normalizeH="0" baseline="0" noProof="0">
                  <a:ln>
                    <a:noFill/>
                  </a:ln>
                  <a:solidFill>
                    <a:prstClr val="black"/>
                  </a:solidFill>
                  <a:effectLst/>
                  <a:uLnTx/>
                  <a:uFillTx/>
                  <a:latin typeface="Ubuntu" panose="020B0504030602030204" pitchFamily="34" charset="0"/>
                  <a:ea typeface="+mn-ea"/>
                  <a:cs typeface="+mn-cs"/>
                </a:rPr>
                <a:t>Capgemini US is now part of a 178-year institution, legacy and in NYL’s word's ‘family’ </a:t>
              </a:r>
            </a:p>
          </p:txBody>
        </p:sp>
        <p:sp>
          <p:nvSpPr>
            <p:cNvPr id="16" name="TextBox 15">
              <a:extLst>
                <a:ext uri="{FF2B5EF4-FFF2-40B4-BE49-F238E27FC236}">
                  <a16:creationId xmlns:a16="http://schemas.microsoft.com/office/drawing/2014/main" id="{43E861A0-182D-4F6E-A633-CBD08DF0EDF4}"/>
                </a:ext>
              </a:extLst>
            </p:cNvPr>
            <p:cNvSpPr txBox="1"/>
            <p:nvPr/>
          </p:nvSpPr>
          <p:spPr>
            <a:xfrm>
              <a:off x="102635" y="2660655"/>
              <a:ext cx="4049952"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0AD"/>
                  </a:solidFill>
                  <a:effectLst/>
                  <a:uLnTx/>
                  <a:uFillTx/>
                  <a:latin typeface="Ubuntu Medium" panose="020B0604030602030204" pitchFamily="34" charset="0"/>
                  <a:ea typeface="+mn-ea"/>
                  <a:cs typeface="+mn-cs"/>
                </a:rPr>
                <a:t>Our Vision:</a:t>
              </a:r>
            </a:p>
            <a:p>
              <a:pPr marL="0" marR="0" lvl="0" indent="0" algn="l" defTabSz="914400" rtl="0" eaLnBrk="1" fontAlgn="auto" latinLnBrk="0" hangingPunct="1">
                <a:lnSpc>
                  <a:spcPct val="100000"/>
                </a:lnSpc>
                <a:spcBef>
                  <a:spcPts val="0"/>
                </a:spcBef>
                <a:spcAft>
                  <a:spcPts val="0"/>
                </a:spcAft>
                <a:buClr>
                  <a:srgbClr val="0070AD"/>
                </a:buClr>
                <a:buSzTx/>
                <a:buFontTx/>
                <a:buNone/>
                <a:tabLst/>
                <a:defRPr/>
              </a:pPr>
              <a:r>
                <a:rPr kumimoji="0" lang="en-US" sz="1400" b="0" i="0" u="none" strike="noStrike" kern="1200" cap="none" spc="0" normalizeH="0" baseline="0" noProof="0">
                  <a:ln>
                    <a:noFill/>
                  </a:ln>
                  <a:solidFill>
                    <a:prstClr val="black"/>
                  </a:solidFill>
                  <a:effectLst/>
                  <a:uLnTx/>
                  <a:uFillTx/>
                  <a:latin typeface="Ubuntu" panose="020B0504030602030204" pitchFamily="34" charset="0"/>
                  <a:ea typeface="+mn-ea"/>
                  <a:cs typeface="Arial" panose="020B0604020202020204" pitchFamily="34" charset="0"/>
                </a:rPr>
                <a:t>Be “the”  preferred Transformation Partner</a:t>
              </a:r>
            </a:p>
          </p:txBody>
        </p:sp>
        <p:pic>
          <p:nvPicPr>
            <p:cNvPr id="3" name="Picture 2">
              <a:extLst>
                <a:ext uri="{FF2B5EF4-FFF2-40B4-BE49-F238E27FC236}">
                  <a16:creationId xmlns:a16="http://schemas.microsoft.com/office/drawing/2014/main" id="{CB9443A3-2592-BA4D-E86E-159AB538E674}"/>
                </a:ext>
              </a:extLst>
            </p:cNvPr>
            <p:cNvPicPr>
              <a:picLocks noChangeAspect="1"/>
            </p:cNvPicPr>
            <p:nvPr/>
          </p:nvPicPr>
          <p:blipFill>
            <a:blip r:embed="rId3"/>
            <a:stretch>
              <a:fillRect/>
            </a:stretch>
          </p:blipFill>
          <p:spPr>
            <a:xfrm>
              <a:off x="195946" y="3249228"/>
              <a:ext cx="3956641" cy="2264572"/>
            </a:xfrm>
            <a:prstGeom prst="rect">
              <a:avLst/>
            </a:prstGeom>
          </p:spPr>
        </p:pic>
        <p:pic>
          <p:nvPicPr>
            <p:cNvPr id="18" name="Picture 17">
              <a:extLst>
                <a:ext uri="{FF2B5EF4-FFF2-40B4-BE49-F238E27FC236}">
                  <a16:creationId xmlns:a16="http://schemas.microsoft.com/office/drawing/2014/main" id="{FDE31616-41E9-DEEF-A53D-75742CBEC272}"/>
                </a:ext>
              </a:extLst>
            </p:cNvPr>
            <p:cNvPicPr>
              <a:picLocks noChangeAspect="1"/>
            </p:cNvPicPr>
            <p:nvPr/>
          </p:nvPicPr>
          <p:blipFill>
            <a:blip r:embed="rId4"/>
            <a:stretch>
              <a:fillRect/>
            </a:stretch>
          </p:blipFill>
          <p:spPr>
            <a:xfrm>
              <a:off x="4233383" y="3254657"/>
              <a:ext cx="3956642" cy="2253712"/>
            </a:xfrm>
            <a:prstGeom prst="rect">
              <a:avLst/>
            </a:prstGeom>
          </p:spPr>
        </p:pic>
        <p:sp>
          <p:nvSpPr>
            <p:cNvPr id="19" name="TextBox 18">
              <a:extLst>
                <a:ext uri="{FF2B5EF4-FFF2-40B4-BE49-F238E27FC236}">
                  <a16:creationId xmlns:a16="http://schemas.microsoft.com/office/drawing/2014/main" id="{D064B4E6-CFF1-1407-04FD-392D439D2430}"/>
                </a:ext>
              </a:extLst>
            </p:cNvPr>
            <p:cNvSpPr txBox="1"/>
            <p:nvPr/>
          </p:nvSpPr>
          <p:spPr>
            <a:xfrm>
              <a:off x="4140072" y="2660655"/>
              <a:ext cx="4049952"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0AD"/>
                  </a:solidFill>
                  <a:effectLst/>
                  <a:uLnTx/>
                  <a:uFillTx/>
                  <a:latin typeface="Ubuntu Medium" panose="020B0604030602030204" pitchFamily="34" charset="0"/>
                  <a:ea typeface="+mn-ea"/>
                  <a:cs typeface="+mn-cs"/>
                </a:rPr>
                <a:t>Our Values:</a:t>
              </a:r>
            </a:p>
            <a:p>
              <a:pPr marL="0" marR="0" lvl="0" indent="0" algn="l" defTabSz="914400" rtl="0" eaLnBrk="1" fontAlgn="auto" latinLnBrk="0" hangingPunct="1">
                <a:lnSpc>
                  <a:spcPct val="100000"/>
                </a:lnSpc>
                <a:spcBef>
                  <a:spcPts val="0"/>
                </a:spcBef>
                <a:spcAft>
                  <a:spcPts val="0"/>
                </a:spcAft>
                <a:buClr>
                  <a:srgbClr val="0070AD"/>
                </a:buClr>
                <a:buSzTx/>
                <a:buFontTx/>
                <a:buNone/>
                <a:tabLst/>
                <a:defRPr/>
              </a:pPr>
              <a:r>
                <a:rPr kumimoji="0" lang="en-US" sz="1400" b="0" i="0" u="none" strike="noStrike" kern="1200" cap="none" spc="0" normalizeH="0" baseline="0" noProof="0">
                  <a:ln>
                    <a:noFill/>
                  </a:ln>
                  <a:solidFill>
                    <a:prstClr val="black"/>
                  </a:solidFill>
                  <a:effectLst/>
                  <a:uLnTx/>
                  <a:uFillTx/>
                  <a:latin typeface="Ubuntu" panose="020B0504030602030204" pitchFamily="34" charset="0"/>
                  <a:ea typeface="+mn-ea"/>
                  <a:cs typeface="Arial" panose="020B0604020202020204" pitchFamily="34" charset="0"/>
                </a:rPr>
                <a:t>Represent a culture that is aligned with NYL</a:t>
              </a:r>
            </a:p>
          </p:txBody>
        </p:sp>
      </p:grpSp>
      <p:sp>
        <p:nvSpPr>
          <p:cNvPr id="15" name="TextBox 14">
            <a:extLst>
              <a:ext uri="{FF2B5EF4-FFF2-40B4-BE49-F238E27FC236}">
                <a16:creationId xmlns:a16="http://schemas.microsoft.com/office/drawing/2014/main" id="{A07B59D7-C71C-4483-82E9-670861B6170C}"/>
              </a:ext>
            </a:extLst>
          </p:cNvPr>
          <p:cNvSpPr txBox="1"/>
          <p:nvPr/>
        </p:nvSpPr>
        <p:spPr>
          <a:xfrm>
            <a:off x="66936" y="4774937"/>
            <a:ext cx="8276251" cy="16312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0AD"/>
                </a:solidFill>
                <a:effectLst/>
                <a:uLnTx/>
                <a:uFillTx/>
                <a:latin typeface="Ubuntu Medium" panose="020B0604030602030204" pitchFamily="34" charset="0"/>
                <a:ea typeface="+mn-ea"/>
                <a:cs typeface="+mn-cs"/>
              </a:rPr>
              <a:t>Our Current Footprint:</a:t>
            </a:r>
          </a:p>
          <a:p>
            <a:pPr marL="193675" marR="0" lvl="0" indent="-171450" algn="l" defTabSz="912813" rtl="0" eaLnBrk="1" fontAlgn="auto" latinLnBrk="0" hangingPunct="1">
              <a:lnSpc>
                <a:spcPct val="100000"/>
              </a:lnSpc>
              <a:spcBef>
                <a:spcPts val="0"/>
              </a:spcBef>
              <a:spcAft>
                <a:spcPts val="0"/>
              </a:spcAft>
              <a:buClr>
                <a:srgbClr val="0070AD"/>
              </a:buClr>
              <a:buSzTx/>
              <a:buFont typeface="Wingdings" panose="05000000000000000000" pitchFamily="2" charset="2"/>
              <a:buChar char="§"/>
              <a:tabLst>
                <a:tab pos="228600" algn="l"/>
                <a:tab pos="6453188" algn="r"/>
              </a:tabLst>
              <a:defRPr/>
            </a:pPr>
            <a:r>
              <a:rPr kumimoji="0" lang="en-US" sz="1400" b="0" i="0" u="none" strike="noStrike" kern="1200" cap="none" spc="0" normalizeH="0" baseline="0" noProof="0">
                <a:ln>
                  <a:noFill/>
                </a:ln>
                <a:solidFill>
                  <a:prstClr val="black"/>
                </a:solidFill>
                <a:effectLst/>
                <a:uLnTx/>
                <a:uFillTx/>
                <a:latin typeface="Ubuntu" panose="020B0504030602030204" pitchFamily="34" charset="0"/>
                <a:ea typeface="+mn-ea"/>
                <a:cs typeface="Arial" panose="020B0604020202020204" pitchFamily="34" charset="0"/>
              </a:rPr>
              <a:t>Run Partner for AMS Managed Services, helping:</a:t>
            </a:r>
          </a:p>
          <a:p>
            <a:pPr marL="650875" marR="0" lvl="1" indent="-171450" algn="l" defTabSz="912813" rtl="0" eaLnBrk="1" fontAlgn="auto" latinLnBrk="0" hangingPunct="1">
              <a:lnSpc>
                <a:spcPct val="100000"/>
              </a:lnSpc>
              <a:spcBef>
                <a:spcPts val="0"/>
              </a:spcBef>
              <a:spcAft>
                <a:spcPts val="0"/>
              </a:spcAft>
              <a:buClr>
                <a:srgbClr val="0070AD"/>
              </a:buClr>
              <a:buSzTx/>
              <a:buFont typeface="Wingdings" panose="05000000000000000000" pitchFamily="2" charset="2"/>
              <a:buChar char="§"/>
              <a:tabLst>
                <a:tab pos="228600" algn="l"/>
                <a:tab pos="6453188" algn="r"/>
              </a:tabLst>
              <a:defRPr/>
            </a:pPr>
            <a:r>
              <a:rPr kumimoji="0" lang="en-US" sz="1400" b="0" i="0" u="none" strike="noStrike" kern="1200" cap="none" spc="0" normalizeH="0" baseline="0" noProof="0">
                <a:ln>
                  <a:noFill/>
                </a:ln>
                <a:solidFill>
                  <a:prstClr val="black"/>
                </a:solidFill>
                <a:effectLst/>
                <a:uLnTx/>
                <a:uFillTx/>
                <a:latin typeface="Ubuntu" panose="020B0504030602030204" pitchFamily="34" charset="0"/>
                <a:ea typeface="+mn-ea"/>
                <a:cs typeface="Arial" panose="020B0604020202020204" pitchFamily="34" charset="0"/>
              </a:rPr>
              <a:t>Bring n</a:t>
            </a:r>
            <a:r>
              <a:rPr kumimoji="0" lang="en-US" sz="1400" b="0" i="0" u="none" strike="noStrike" kern="1200" cap="none" spc="0" normalizeH="0" baseline="0" noProof="0" err="1">
                <a:ln>
                  <a:noFill/>
                </a:ln>
                <a:solidFill>
                  <a:prstClr val="black"/>
                </a:solidFill>
                <a:effectLst/>
                <a:uLnTx/>
                <a:uFillTx/>
                <a:latin typeface="Ubuntu" panose="020B0504030602030204" pitchFamily="34" charset="0"/>
                <a:ea typeface="+mn-ea"/>
                <a:cs typeface="Arial" panose="020B0604020202020204" pitchFamily="34" charset="0"/>
              </a:rPr>
              <a:t>ew</a:t>
            </a:r>
            <a:r>
              <a:rPr kumimoji="0" lang="en-US" sz="1400" b="0" i="0" u="none" strike="noStrike" kern="1200" cap="none" spc="0" normalizeH="0" baseline="0" noProof="0">
                <a:ln>
                  <a:noFill/>
                </a:ln>
                <a:solidFill>
                  <a:prstClr val="black"/>
                </a:solidFill>
                <a:effectLst/>
                <a:uLnTx/>
                <a:uFillTx/>
                <a:latin typeface="Ubuntu" panose="020B0504030602030204" pitchFamily="34" charset="0"/>
                <a:ea typeface="+mn-ea"/>
                <a:cs typeface="Arial" panose="020B0604020202020204" pitchFamily="34" charset="0"/>
              </a:rPr>
              <a:t> ideas that challenge internal teams, processes and incumbents</a:t>
            </a:r>
          </a:p>
          <a:p>
            <a:pPr marL="650875" marR="0" lvl="1" indent="-171450" algn="l" defTabSz="912813" rtl="0" eaLnBrk="1" fontAlgn="auto" latinLnBrk="0" hangingPunct="1">
              <a:lnSpc>
                <a:spcPct val="100000"/>
              </a:lnSpc>
              <a:spcBef>
                <a:spcPts val="0"/>
              </a:spcBef>
              <a:spcAft>
                <a:spcPts val="0"/>
              </a:spcAft>
              <a:buClr>
                <a:srgbClr val="0070AD"/>
              </a:buClr>
              <a:buSzTx/>
              <a:buFont typeface="Wingdings" panose="05000000000000000000" pitchFamily="2" charset="2"/>
              <a:buChar char="§"/>
              <a:tabLst>
                <a:tab pos="228600" algn="l"/>
                <a:tab pos="6453188" algn="r"/>
              </a:tabLst>
              <a:defRPr/>
            </a:pPr>
            <a:r>
              <a:rPr kumimoji="0" lang="en-US" sz="1400" b="0" i="0" u="none" strike="noStrike" kern="1200" cap="none" spc="0" normalizeH="0" baseline="0" noProof="0">
                <a:ln>
                  <a:noFill/>
                </a:ln>
                <a:solidFill>
                  <a:prstClr val="black"/>
                </a:solidFill>
                <a:effectLst/>
                <a:uLnTx/>
                <a:uFillTx/>
                <a:latin typeface="Ubuntu" panose="020B0504030602030204" pitchFamily="34" charset="0"/>
                <a:ea typeface="+mn-ea"/>
                <a:cs typeface="Arial" panose="020B0604020202020204" pitchFamily="34" charset="0"/>
              </a:rPr>
              <a:t>Address NYL's key objectives through the defined scope of work</a:t>
            </a:r>
          </a:p>
          <a:p>
            <a:pPr marL="193675" marR="0" lvl="0" indent="-171450" algn="l" defTabSz="912813" rtl="0" eaLnBrk="1" fontAlgn="auto" latinLnBrk="0" hangingPunct="1">
              <a:lnSpc>
                <a:spcPct val="100000"/>
              </a:lnSpc>
              <a:spcBef>
                <a:spcPts val="0"/>
              </a:spcBef>
              <a:spcAft>
                <a:spcPts val="0"/>
              </a:spcAft>
              <a:buClr>
                <a:srgbClr val="0070AD"/>
              </a:buClr>
              <a:buSzTx/>
              <a:buFont typeface="Wingdings" panose="05000000000000000000" pitchFamily="2" charset="2"/>
              <a:buChar char="§"/>
              <a:tabLst>
                <a:tab pos="228600" algn="l"/>
                <a:tab pos="6453188" algn="r"/>
              </a:tabLst>
              <a:defRPr/>
            </a:pPr>
            <a:r>
              <a:rPr kumimoji="0" lang="en-US" sz="1400" b="0" i="0" u="none" strike="noStrike" kern="1200" cap="none" spc="0" normalizeH="0" baseline="0" noProof="0">
                <a:ln>
                  <a:noFill/>
                </a:ln>
                <a:solidFill>
                  <a:prstClr val="black"/>
                </a:solidFill>
                <a:effectLst/>
                <a:uLnTx/>
                <a:uFillTx/>
                <a:latin typeface="Ubuntu" panose="020B0504030602030204" pitchFamily="34" charset="0"/>
                <a:ea typeface="+mn-ea"/>
                <a:cs typeface="Arial" panose="020B0604020202020204" pitchFamily="34" charset="0"/>
              </a:rPr>
              <a:t>Preferred Application Development partner for NYL helping define:</a:t>
            </a:r>
          </a:p>
          <a:p>
            <a:pPr marL="650875" marR="0" lvl="1" indent="-171450" algn="l" defTabSz="912813" rtl="0" eaLnBrk="1" fontAlgn="auto" latinLnBrk="0" hangingPunct="1">
              <a:lnSpc>
                <a:spcPct val="100000"/>
              </a:lnSpc>
              <a:spcBef>
                <a:spcPts val="0"/>
              </a:spcBef>
              <a:spcAft>
                <a:spcPts val="0"/>
              </a:spcAft>
              <a:buClr>
                <a:srgbClr val="0070AD"/>
              </a:buClr>
              <a:buSzTx/>
              <a:buFont typeface="Wingdings" panose="05000000000000000000" pitchFamily="2" charset="2"/>
              <a:buChar char="§"/>
              <a:tabLst>
                <a:tab pos="228600" algn="l"/>
                <a:tab pos="6453188" algn="r"/>
              </a:tabLst>
              <a:defRPr/>
            </a:pPr>
            <a:r>
              <a:rPr kumimoji="0" lang="en-US" sz="1400" b="0" i="0" u="none" strike="noStrike" kern="1200" cap="none" spc="0" normalizeH="0" baseline="0" noProof="0">
                <a:ln>
                  <a:noFill/>
                </a:ln>
                <a:solidFill>
                  <a:prstClr val="black"/>
                </a:solidFill>
                <a:effectLst/>
                <a:uLnTx/>
                <a:uFillTx/>
                <a:latin typeface="Ubuntu" panose="020B0504030602030204" pitchFamily="34" charset="0"/>
                <a:ea typeface="+mn-ea"/>
                <a:cs typeface="+mn-cs"/>
              </a:rPr>
              <a:t>Transformation solution for Mainframe Modernization, </a:t>
            </a:r>
          </a:p>
          <a:p>
            <a:pPr marL="650875" marR="0" lvl="1" indent="-171450" algn="l" defTabSz="912813" rtl="0" eaLnBrk="1" fontAlgn="auto" latinLnBrk="0" hangingPunct="1">
              <a:lnSpc>
                <a:spcPct val="100000"/>
              </a:lnSpc>
              <a:spcBef>
                <a:spcPts val="0"/>
              </a:spcBef>
              <a:spcAft>
                <a:spcPts val="0"/>
              </a:spcAft>
              <a:buClr>
                <a:srgbClr val="0070AD"/>
              </a:buClr>
              <a:buSzTx/>
              <a:buFont typeface="Wingdings" panose="05000000000000000000" pitchFamily="2" charset="2"/>
              <a:buChar char="§"/>
              <a:tabLst>
                <a:tab pos="228600" algn="l"/>
                <a:tab pos="6453188" algn="r"/>
              </a:tabLst>
              <a:defRPr/>
            </a:pPr>
            <a:r>
              <a:rPr kumimoji="0" lang="en-US" sz="1400" b="0" i="0" u="none" strike="noStrike" kern="1200" cap="none" spc="0" normalizeH="0" baseline="0" noProof="0">
                <a:ln>
                  <a:noFill/>
                </a:ln>
                <a:solidFill>
                  <a:prstClr val="black"/>
                </a:solidFill>
                <a:effectLst/>
                <a:uLnTx/>
                <a:uFillTx/>
                <a:latin typeface="Ubuntu" panose="020B0504030602030204" pitchFamily="34" charset="0"/>
                <a:ea typeface="+mn-ea"/>
                <a:cs typeface="+mn-cs"/>
              </a:rPr>
              <a:t>Solution for SAP Onboarding and CPI Implementation</a:t>
            </a:r>
            <a:endParaRPr kumimoji="0" lang="en-US" sz="1400" b="0" i="0" u="none" strike="noStrike" kern="1200" cap="none" spc="0" normalizeH="0" baseline="0" noProof="0">
              <a:ln>
                <a:noFill/>
              </a:ln>
              <a:solidFill>
                <a:prstClr val="black"/>
              </a:solidFill>
              <a:effectLst/>
              <a:uLnTx/>
              <a:uFillTx/>
              <a:latin typeface="Ubuntu" panose="020B0504030602030204" pitchFamily="34" charset="0"/>
              <a:ea typeface="+mn-ea"/>
              <a:cs typeface="Arial" panose="020B0604020202020204" pitchFamily="34" charset="0"/>
            </a:endParaRPr>
          </a:p>
        </p:txBody>
      </p:sp>
      <p:pic>
        <p:nvPicPr>
          <p:cNvPr id="7" name="Graphic 6" descr="Star with solid fill">
            <a:extLst>
              <a:ext uri="{FF2B5EF4-FFF2-40B4-BE49-F238E27FC236}">
                <a16:creationId xmlns:a16="http://schemas.microsoft.com/office/drawing/2014/main" id="{B40621AE-41B7-66DF-18BD-41E23C2B416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0111" y="1141261"/>
            <a:ext cx="189404" cy="189404"/>
          </a:xfrm>
          <a:prstGeom prst="rect">
            <a:avLst/>
          </a:prstGeom>
        </p:spPr>
      </p:pic>
      <p:pic>
        <p:nvPicPr>
          <p:cNvPr id="8" name="Graphic 7" descr="Star with solid fill">
            <a:extLst>
              <a:ext uri="{FF2B5EF4-FFF2-40B4-BE49-F238E27FC236}">
                <a16:creationId xmlns:a16="http://schemas.microsoft.com/office/drawing/2014/main" id="{2A5886E0-518B-8CA2-EDC4-48189B865F7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901078" y="1147688"/>
            <a:ext cx="189404" cy="189404"/>
          </a:xfrm>
          <a:prstGeom prst="rect">
            <a:avLst/>
          </a:prstGeom>
        </p:spPr>
      </p:pic>
      <p:sp>
        <p:nvSpPr>
          <p:cNvPr id="23" name="Title 3">
            <a:extLst>
              <a:ext uri="{FF2B5EF4-FFF2-40B4-BE49-F238E27FC236}">
                <a16:creationId xmlns:a16="http://schemas.microsoft.com/office/drawing/2014/main" id="{78C2DA6B-EEF5-4FE2-864E-9BC011557442}"/>
              </a:ext>
            </a:extLst>
          </p:cNvPr>
          <p:cNvSpPr>
            <a:spLocks noGrp="1"/>
          </p:cNvSpPr>
          <p:nvPr>
            <p:ph type="title"/>
          </p:nvPr>
        </p:nvSpPr>
        <p:spPr>
          <a:xfrm>
            <a:off x="116910" y="193797"/>
            <a:ext cx="8605837" cy="716711"/>
          </a:xfrm>
        </p:spPr>
        <p:txBody>
          <a:bodyPr anchor="ctr"/>
          <a:lstStyle/>
          <a:p>
            <a:r>
              <a:rPr lang="en-GB"/>
              <a:t>New York Life – Our Relationship</a:t>
            </a:r>
          </a:p>
        </p:txBody>
      </p:sp>
    </p:spTree>
    <p:extLst>
      <p:ext uri="{BB962C8B-B14F-4D97-AF65-F5344CB8AC3E}">
        <p14:creationId xmlns:p14="http://schemas.microsoft.com/office/powerpoint/2010/main" val="4294951996"/>
      </p:ext>
    </p:extLst>
  </p:cSld>
  <p:clrMapOvr>
    <a:overrideClrMapping bg1="lt1" tx1="dk1" bg2="lt2" tx2="dk2" accent1="accent1" accent2="accent2" accent3="accent3" accent4="accent4" accent5="accent5" accent6="accent6" hlink="hlink" folHlink="folHlink"/>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16910" y="193797"/>
            <a:ext cx="8605837" cy="716711"/>
          </a:xfrm>
        </p:spPr>
        <p:txBody>
          <a:bodyPr anchor="ctr"/>
          <a:lstStyle/>
          <a:p>
            <a:r>
              <a:rPr lang="en-GB"/>
              <a:t>New York Life – OUR Current SCOPE @ US</a:t>
            </a:r>
          </a:p>
        </p:txBody>
      </p:sp>
      <p:sp>
        <p:nvSpPr>
          <p:cNvPr id="10" name="Isosceles Triangle 9">
            <a:extLst>
              <a:ext uri="{FF2B5EF4-FFF2-40B4-BE49-F238E27FC236}">
                <a16:creationId xmlns:a16="http://schemas.microsoft.com/office/drawing/2014/main" id="{0D7E1889-42FF-D13E-A278-E4F5AACE4C41}"/>
              </a:ext>
            </a:extLst>
          </p:cNvPr>
          <p:cNvSpPr/>
          <p:nvPr/>
        </p:nvSpPr>
        <p:spPr>
          <a:xfrm rot="16200000" flipV="1">
            <a:off x="888809" y="3692232"/>
            <a:ext cx="4536548" cy="297947"/>
          </a:xfrm>
          <a:prstGeom prst="triangle">
            <a:avLst/>
          </a:prstGeom>
          <a:gradFill>
            <a:gsLst>
              <a:gs pos="98000">
                <a:schemeClr val="bg1"/>
              </a:gs>
              <a:gs pos="46000">
                <a:schemeClr val="bg1">
                  <a:lumMod val="7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Ubuntu"/>
              <a:ea typeface="+mn-ea"/>
              <a:cs typeface="+mn-cs"/>
            </a:endParaRPr>
          </a:p>
        </p:txBody>
      </p:sp>
      <p:sp>
        <p:nvSpPr>
          <p:cNvPr id="31" name="Rectangle 30">
            <a:extLst>
              <a:ext uri="{FF2B5EF4-FFF2-40B4-BE49-F238E27FC236}">
                <a16:creationId xmlns:a16="http://schemas.microsoft.com/office/drawing/2014/main" id="{7B218A60-1365-8095-1A10-BBFB0699E90C}"/>
              </a:ext>
            </a:extLst>
          </p:cNvPr>
          <p:cNvSpPr/>
          <p:nvPr/>
        </p:nvSpPr>
        <p:spPr>
          <a:xfrm>
            <a:off x="3378622" y="5535645"/>
            <a:ext cx="8371381" cy="855359"/>
          </a:xfrm>
          <a:prstGeom prst="rect">
            <a:avLst/>
          </a:prstGeom>
          <a:solidFill>
            <a:schemeClr val="bg1">
              <a:lumMod val="95000"/>
            </a:schemeClr>
          </a:solidFill>
          <a:ln w="635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a:ln>
                <a:noFill/>
              </a:ln>
              <a:solidFill>
                <a:srgbClr val="000000"/>
              </a:solidFill>
              <a:effectLst/>
              <a:uLnTx/>
              <a:uFillTx/>
              <a:latin typeface="Verdana"/>
              <a:ea typeface="+mn-ea"/>
              <a:cs typeface="+mn-cs"/>
            </a:endParaRPr>
          </a:p>
        </p:txBody>
      </p:sp>
      <p:grpSp>
        <p:nvGrpSpPr>
          <p:cNvPr id="32" name="Group 31">
            <a:extLst>
              <a:ext uri="{FF2B5EF4-FFF2-40B4-BE49-F238E27FC236}">
                <a16:creationId xmlns:a16="http://schemas.microsoft.com/office/drawing/2014/main" id="{35B18948-F1D2-5AFB-C27C-21CF49B27A8B}"/>
              </a:ext>
            </a:extLst>
          </p:cNvPr>
          <p:cNvGrpSpPr/>
          <p:nvPr/>
        </p:nvGrpSpPr>
        <p:grpSpPr>
          <a:xfrm>
            <a:off x="3378622" y="5556274"/>
            <a:ext cx="8224661" cy="861775"/>
            <a:chOff x="541680" y="5546542"/>
            <a:chExt cx="8014193" cy="1000160"/>
          </a:xfrm>
        </p:grpSpPr>
        <p:sp>
          <p:nvSpPr>
            <p:cNvPr id="33" name="TextBox 32">
              <a:extLst>
                <a:ext uri="{FF2B5EF4-FFF2-40B4-BE49-F238E27FC236}">
                  <a16:creationId xmlns:a16="http://schemas.microsoft.com/office/drawing/2014/main" id="{CBE4CAB6-B4EA-19D2-EB38-FE01A0DDC5A8}"/>
                </a:ext>
              </a:extLst>
            </p:cNvPr>
            <p:cNvSpPr txBox="1"/>
            <p:nvPr/>
          </p:nvSpPr>
          <p:spPr>
            <a:xfrm>
              <a:off x="541680" y="5546542"/>
              <a:ext cx="1777655" cy="100016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Verdana"/>
                  <a:ea typeface="+mn-ea"/>
                  <a:cs typeface="+mn-cs"/>
                </a:rPr>
                <a:t>Real Time Performance Dashboard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Verdana"/>
                  <a:ea typeface="+mn-ea"/>
                  <a:cs typeface="+mn-cs"/>
                </a:rPr>
                <a:t>Through SNOW Performance Analytics</a:t>
              </a:r>
            </a:p>
          </p:txBody>
        </p:sp>
        <p:pic>
          <p:nvPicPr>
            <p:cNvPr id="34" name="Picture 33">
              <a:extLst>
                <a:ext uri="{FF2B5EF4-FFF2-40B4-BE49-F238E27FC236}">
                  <a16:creationId xmlns:a16="http://schemas.microsoft.com/office/drawing/2014/main" id="{5E20B0DA-27B9-D82A-D622-6D9F64D2B533}"/>
                </a:ext>
              </a:extLst>
            </p:cNvPr>
            <p:cNvPicPr>
              <a:picLocks noChangeAspect="1"/>
            </p:cNvPicPr>
            <p:nvPr/>
          </p:nvPicPr>
          <p:blipFill>
            <a:blip r:embed="rId2"/>
            <a:stretch>
              <a:fillRect/>
            </a:stretch>
          </p:blipFill>
          <p:spPr>
            <a:xfrm>
              <a:off x="6894927" y="5605647"/>
              <a:ext cx="1660946" cy="845571"/>
            </a:xfrm>
            <a:prstGeom prst="rect">
              <a:avLst/>
            </a:prstGeom>
          </p:spPr>
        </p:pic>
        <p:sp>
          <p:nvSpPr>
            <p:cNvPr id="35" name="Isosceles Triangle 34">
              <a:extLst>
                <a:ext uri="{FF2B5EF4-FFF2-40B4-BE49-F238E27FC236}">
                  <a16:creationId xmlns:a16="http://schemas.microsoft.com/office/drawing/2014/main" id="{CE6227F3-F846-AAAB-A67A-7EE544671D1E}"/>
                </a:ext>
              </a:extLst>
            </p:cNvPr>
            <p:cNvSpPr/>
            <p:nvPr/>
          </p:nvSpPr>
          <p:spPr>
            <a:xfrm rot="5400000">
              <a:off x="2259814" y="5968721"/>
              <a:ext cx="607003" cy="148081"/>
            </a:xfrm>
            <a:prstGeom prst="triangle">
              <a:avLst/>
            </a:prstGeom>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Verdana"/>
                <a:ea typeface="+mn-ea"/>
                <a:cs typeface="+mn-cs"/>
              </a:endParaRPr>
            </a:p>
          </p:txBody>
        </p:sp>
      </p:grpSp>
      <p:sp>
        <p:nvSpPr>
          <p:cNvPr id="36" name="Isosceles Triangle 35">
            <a:extLst>
              <a:ext uri="{FF2B5EF4-FFF2-40B4-BE49-F238E27FC236}">
                <a16:creationId xmlns:a16="http://schemas.microsoft.com/office/drawing/2014/main" id="{62B57B66-046D-5A5F-0457-85A7F176B45F}"/>
              </a:ext>
            </a:extLst>
          </p:cNvPr>
          <p:cNvSpPr/>
          <p:nvPr/>
        </p:nvSpPr>
        <p:spPr>
          <a:xfrm rot="10800000">
            <a:off x="5270703" y="5342334"/>
            <a:ext cx="457200" cy="137160"/>
          </a:xfrm>
          <a:prstGeom prst="triangle">
            <a:avLst/>
          </a:prstGeom>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Verdana"/>
              <a:ea typeface="+mn-ea"/>
              <a:cs typeface="+mn-cs"/>
            </a:endParaRPr>
          </a:p>
        </p:txBody>
      </p:sp>
      <p:sp>
        <p:nvSpPr>
          <p:cNvPr id="37" name="Isosceles Triangle 36">
            <a:extLst>
              <a:ext uri="{FF2B5EF4-FFF2-40B4-BE49-F238E27FC236}">
                <a16:creationId xmlns:a16="http://schemas.microsoft.com/office/drawing/2014/main" id="{59B5F569-F94E-59C0-9B72-2D6EDFD6A212}"/>
              </a:ext>
            </a:extLst>
          </p:cNvPr>
          <p:cNvSpPr/>
          <p:nvPr/>
        </p:nvSpPr>
        <p:spPr>
          <a:xfrm rot="10800000" flipV="1">
            <a:off x="9582241" y="5321116"/>
            <a:ext cx="457200" cy="137160"/>
          </a:xfrm>
          <a:prstGeom prst="triangle">
            <a:avLst/>
          </a:prstGeom>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Verdana"/>
              <a:ea typeface="+mn-ea"/>
              <a:cs typeface="+mn-cs"/>
            </a:endParaRPr>
          </a:p>
        </p:txBody>
      </p:sp>
      <p:sp>
        <p:nvSpPr>
          <p:cNvPr id="38" name="Rectangle 37">
            <a:extLst>
              <a:ext uri="{FF2B5EF4-FFF2-40B4-BE49-F238E27FC236}">
                <a16:creationId xmlns:a16="http://schemas.microsoft.com/office/drawing/2014/main" id="{B79FB430-21E8-0349-8277-DCDD1055C851}"/>
              </a:ext>
            </a:extLst>
          </p:cNvPr>
          <p:cNvSpPr/>
          <p:nvPr/>
        </p:nvSpPr>
        <p:spPr>
          <a:xfrm>
            <a:off x="7877074" y="1434246"/>
            <a:ext cx="3872929" cy="3822225"/>
          </a:xfrm>
          <a:prstGeom prst="rect">
            <a:avLst/>
          </a:prstGeom>
          <a:solidFill>
            <a:schemeClr val="bg1">
              <a:lumMod val="95000"/>
            </a:schemeClr>
          </a:solidFill>
          <a:ln w="635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a:ln>
                <a:noFill/>
              </a:ln>
              <a:solidFill>
                <a:srgbClr val="000000"/>
              </a:solidFill>
              <a:effectLst/>
              <a:uLnTx/>
              <a:uFillTx/>
              <a:latin typeface="Verdana"/>
              <a:ea typeface="+mn-ea"/>
              <a:cs typeface="+mn-cs"/>
            </a:endParaRPr>
          </a:p>
        </p:txBody>
      </p:sp>
      <p:sp>
        <p:nvSpPr>
          <p:cNvPr id="39" name="Rectangle 38">
            <a:extLst>
              <a:ext uri="{FF2B5EF4-FFF2-40B4-BE49-F238E27FC236}">
                <a16:creationId xmlns:a16="http://schemas.microsoft.com/office/drawing/2014/main" id="{B63CFD4B-F047-B2F0-17A2-52CEA1A2528E}"/>
              </a:ext>
            </a:extLst>
          </p:cNvPr>
          <p:cNvSpPr>
            <a:spLocks/>
          </p:cNvSpPr>
          <p:nvPr/>
        </p:nvSpPr>
        <p:spPr>
          <a:xfrm>
            <a:off x="7877074" y="1087740"/>
            <a:ext cx="3872929" cy="317010"/>
          </a:xfrm>
          <a:prstGeom prst="rect">
            <a:avLst/>
          </a:prstGeom>
          <a:solidFill>
            <a:srgbClr val="00B050"/>
          </a:solidFill>
          <a:ln w="12700" cap="flat" cmpd="sng" algn="ctr">
            <a:noFill/>
            <a:prstDash val="solid"/>
            <a:miter lim="800000"/>
          </a:ln>
          <a:effectLst/>
        </p:spPr>
        <p:txBody>
          <a:bodyPr wrap="square" lIns="73152" tIns="73152" rIns="73152" bIns="73152"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prstClr val="white"/>
                </a:solidFill>
                <a:effectLst/>
                <a:uLnTx/>
                <a:uFillTx/>
                <a:latin typeface="Verdana"/>
                <a:ea typeface="+mn-ea"/>
                <a:cs typeface="+mn-cs"/>
              </a:rPr>
              <a:t>Steady State Transformation</a:t>
            </a:r>
          </a:p>
        </p:txBody>
      </p:sp>
      <p:sp>
        <p:nvSpPr>
          <p:cNvPr id="40" name="Rectangle 39">
            <a:extLst>
              <a:ext uri="{FF2B5EF4-FFF2-40B4-BE49-F238E27FC236}">
                <a16:creationId xmlns:a16="http://schemas.microsoft.com/office/drawing/2014/main" id="{51181EF4-F95F-5F4E-2868-74EAC927DBF3}"/>
              </a:ext>
            </a:extLst>
          </p:cNvPr>
          <p:cNvSpPr/>
          <p:nvPr/>
        </p:nvSpPr>
        <p:spPr>
          <a:xfrm>
            <a:off x="3378622" y="1436954"/>
            <a:ext cx="4158402" cy="3822224"/>
          </a:xfrm>
          <a:prstGeom prst="rect">
            <a:avLst/>
          </a:prstGeom>
          <a:solidFill>
            <a:schemeClr val="bg1">
              <a:lumMod val="95000"/>
            </a:schemeClr>
          </a:solidFill>
          <a:ln w="635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a:ln>
                <a:noFill/>
              </a:ln>
              <a:solidFill>
                <a:srgbClr val="000000"/>
              </a:solidFill>
              <a:effectLst/>
              <a:uLnTx/>
              <a:uFillTx/>
              <a:latin typeface="Verdana"/>
              <a:ea typeface="+mn-ea"/>
              <a:cs typeface="+mn-cs"/>
            </a:endParaRPr>
          </a:p>
        </p:txBody>
      </p:sp>
      <p:sp>
        <p:nvSpPr>
          <p:cNvPr id="41" name="Rectangle 40">
            <a:extLst>
              <a:ext uri="{FF2B5EF4-FFF2-40B4-BE49-F238E27FC236}">
                <a16:creationId xmlns:a16="http://schemas.microsoft.com/office/drawing/2014/main" id="{ADDC0298-9700-81A8-AC69-A2A65279B966}"/>
              </a:ext>
            </a:extLst>
          </p:cNvPr>
          <p:cNvSpPr>
            <a:spLocks/>
          </p:cNvSpPr>
          <p:nvPr/>
        </p:nvSpPr>
        <p:spPr>
          <a:xfrm>
            <a:off x="3378622" y="1090447"/>
            <a:ext cx="4158402" cy="317010"/>
          </a:xfrm>
          <a:prstGeom prst="rect">
            <a:avLst/>
          </a:prstGeom>
          <a:solidFill>
            <a:schemeClr val="accent1"/>
          </a:solidFill>
          <a:ln w="12700" cap="flat" cmpd="sng" algn="ctr">
            <a:noFill/>
            <a:prstDash val="solid"/>
            <a:miter lim="800000"/>
          </a:ln>
          <a:effectLst/>
        </p:spPr>
        <p:txBody>
          <a:bodyPr wrap="square" lIns="73152" tIns="73152" rIns="73152" bIns="73152"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prstClr val="white"/>
                </a:solidFill>
                <a:effectLst/>
                <a:uLnTx/>
                <a:uFillTx/>
                <a:latin typeface="Verdana"/>
                <a:ea typeface="+mn-ea"/>
                <a:cs typeface="+mn-cs"/>
              </a:rPr>
              <a:t>Dedicated Transition COE</a:t>
            </a:r>
          </a:p>
        </p:txBody>
      </p:sp>
      <p:grpSp>
        <p:nvGrpSpPr>
          <p:cNvPr id="42" name="Group 41">
            <a:extLst>
              <a:ext uri="{FF2B5EF4-FFF2-40B4-BE49-F238E27FC236}">
                <a16:creationId xmlns:a16="http://schemas.microsoft.com/office/drawing/2014/main" id="{95B8CD21-4E1C-C258-610D-FF5AD7D9764B}"/>
              </a:ext>
            </a:extLst>
          </p:cNvPr>
          <p:cNvGrpSpPr/>
          <p:nvPr/>
        </p:nvGrpSpPr>
        <p:grpSpPr>
          <a:xfrm>
            <a:off x="3461851" y="1551899"/>
            <a:ext cx="1959136" cy="577081"/>
            <a:chOff x="587717" y="1650663"/>
            <a:chExt cx="2093389" cy="619841"/>
          </a:xfrm>
        </p:grpSpPr>
        <p:sp>
          <p:nvSpPr>
            <p:cNvPr id="43" name="Rectangle 42">
              <a:extLst>
                <a:ext uri="{FF2B5EF4-FFF2-40B4-BE49-F238E27FC236}">
                  <a16:creationId xmlns:a16="http://schemas.microsoft.com/office/drawing/2014/main" id="{77C24049-A56C-AECD-8722-8E66BE8C2FD4}"/>
                </a:ext>
              </a:extLst>
            </p:cNvPr>
            <p:cNvSpPr/>
            <p:nvPr/>
          </p:nvSpPr>
          <p:spPr>
            <a:xfrm>
              <a:off x="1146681" y="1650663"/>
              <a:ext cx="1534425" cy="619841"/>
            </a:xfrm>
            <a:prstGeom prst="rect">
              <a:avLst/>
            </a:prstGeom>
          </p:spPr>
          <p:txBody>
            <a:bodyPr wrap="square" lIns="27432">
              <a:spAutoFit/>
            </a:bodyPr>
            <a:lstStyle/>
            <a:p>
              <a:pPr marL="0" marR="0" lvl="0" indent="0" algn="l" defTabSz="914400" rtl="0" eaLnBrk="1" fontAlgn="auto" latinLnBrk="0" hangingPunct="1">
                <a:lnSpc>
                  <a:spcPct val="100000"/>
                </a:lnSpc>
                <a:spcBef>
                  <a:spcPts val="0"/>
                </a:spcBef>
                <a:spcAft>
                  <a:spcPts val="400"/>
                </a:spcAft>
                <a:buClr>
                  <a:srgbClr val="0070AD"/>
                </a:buClr>
                <a:buSzTx/>
                <a:buFontTx/>
                <a:buNone/>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147 apps involving Large and Complex transitions</a:t>
              </a:r>
            </a:p>
          </p:txBody>
        </p:sp>
        <p:grpSp>
          <p:nvGrpSpPr>
            <p:cNvPr id="44" name="Group 43">
              <a:extLst>
                <a:ext uri="{FF2B5EF4-FFF2-40B4-BE49-F238E27FC236}">
                  <a16:creationId xmlns:a16="http://schemas.microsoft.com/office/drawing/2014/main" id="{79E23A62-BC37-9B83-0384-545A754BDF38}"/>
                </a:ext>
              </a:extLst>
            </p:cNvPr>
            <p:cNvGrpSpPr/>
            <p:nvPr/>
          </p:nvGrpSpPr>
          <p:grpSpPr>
            <a:xfrm>
              <a:off x="587717" y="1693972"/>
              <a:ext cx="548640" cy="548640"/>
              <a:chOff x="2070772" y="4908227"/>
              <a:chExt cx="640080" cy="640080"/>
            </a:xfrm>
          </p:grpSpPr>
          <p:sp>
            <p:nvSpPr>
              <p:cNvPr id="45" name="Retângulo 9">
                <a:extLst>
                  <a:ext uri="{FF2B5EF4-FFF2-40B4-BE49-F238E27FC236}">
                    <a16:creationId xmlns:a16="http://schemas.microsoft.com/office/drawing/2014/main" id="{5F48CF07-0DBD-D3A6-1A76-8E079BAED116}"/>
                  </a:ext>
                </a:extLst>
              </p:cNvPr>
              <p:cNvSpPr/>
              <p:nvPr/>
            </p:nvSpPr>
            <p:spPr>
              <a:xfrm>
                <a:off x="2070772" y="4908227"/>
                <a:ext cx="640080" cy="640080"/>
              </a:xfrm>
              <a:prstGeom prst="rect">
                <a:avLst/>
              </a:prstGeom>
              <a:solidFill>
                <a:srgbClr val="F26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PT" sz="1200" b="0" i="0" u="none" strike="noStrike" kern="1200" cap="none" spc="0" normalizeH="0" baseline="0" noProof="0">
                  <a:ln>
                    <a:noFill/>
                  </a:ln>
                  <a:solidFill>
                    <a:prstClr val="white"/>
                  </a:solidFill>
                  <a:effectLst/>
                  <a:uLnTx/>
                  <a:uFillTx/>
                  <a:latin typeface="Verdana"/>
                  <a:ea typeface="+mn-ea"/>
                  <a:cs typeface="+mn-cs"/>
                </a:endParaRPr>
              </a:p>
            </p:txBody>
          </p:sp>
          <p:grpSp>
            <p:nvGrpSpPr>
              <p:cNvPr id="46" name="Group 45">
                <a:extLst>
                  <a:ext uri="{FF2B5EF4-FFF2-40B4-BE49-F238E27FC236}">
                    <a16:creationId xmlns:a16="http://schemas.microsoft.com/office/drawing/2014/main" id="{D861C08D-F511-73D5-CABC-489B5422A388}"/>
                  </a:ext>
                </a:extLst>
              </p:cNvPr>
              <p:cNvGrpSpPr>
                <a:grpSpLocks noChangeAspect="1"/>
              </p:cNvGrpSpPr>
              <p:nvPr/>
            </p:nvGrpSpPr>
            <p:grpSpPr>
              <a:xfrm flipH="1">
                <a:off x="2202504" y="5021714"/>
                <a:ext cx="376617" cy="355050"/>
                <a:chOff x="6957957" y="5706459"/>
                <a:chExt cx="331240" cy="312270"/>
              </a:xfrm>
            </p:grpSpPr>
            <p:sp>
              <p:nvSpPr>
                <p:cNvPr id="47" name="Freeform 412">
                  <a:extLst>
                    <a:ext uri="{FF2B5EF4-FFF2-40B4-BE49-F238E27FC236}">
                      <a16:creationId xmlns:a16="http://schemas.microsoft.com/office/drawing/2014/main" id="{6BEE72B7-CC6C-71BC-7B24-82A72C0A8A3E}"/>
                    </a:ext>
                  </a:extLst>
                </p:cNvPr>
                <p:cNvSpPr>
                  <a:spLocks/>
                </p:cNvSpPr>
                <p:nvPr/>
              </p:nvSpPr>
              <p:spPr bwMode="auto">
                <a:xfrm>
                  <a:off x="6957957" y="5706459"/>
                  <a:ext cx="252443" cy="312270"/>
                </a:xfrm>
                <a:custGeom>
                  <a:avLst/>
                  <a:gdLst/>
                  <a:ahLst/>
                  <a:cxnLst>
                    <a:cxn ang="0">
                      <a:pos x="142" y="86"/>
                    </a:cxn>
                    <a:cxn ang="0">
                      <a:pos x="121" y="86"/>
                    </a:cxn>
                    <a:cxn ang="0">
                      <a:pos x="112" y="81"/>
                    </a:cxn>
                    <a:cxn ang="0">
                      <a:pos x="86" y="40"/>
                    </a:cxn>
                    <a:cxn ang="0">
                      <a:pos x="86" y="12"/>
                    </a:cxn>
                    <a:cxn ang="0">
                      <a:pos x="74" y="8"/>
                    </a:cxn>
                    <a:cxn ang="0">
                      <a:pos x="66" y="72"/>
                    </a:cxn>
                    <a:cxn ang="0">
                      <a:pos x="59" y="77"/>
                    </a:cxn>
                    <a:cxn ang="0">
                      <a:pos x="15" y="77"/>
                    </a:cxn>
                    <a:cxn ang="0">
                      <a:pos x="3" y="89"/>
                    </a:cxn>
                    <a:cxn ang="0">
                      <a:pos x="16" y="102"/>
                    </a:cxn>
                    <a:cxn ang="0">
                      <a:pos x="0" y="117"/>
                    </a:cxn>
                    <a:cxn ang="0">
                      <a:pos x="16" y="130"/>
                    </a:cxn>
                    <a:cxn ang="0">
                      <a:pos x="5" y="142"/>
                    </a:cxn>
                    <a:cxn ang="0">
                      <a:pos x="21" y="154"/>
                    </a:cxn>
                    <a:cxn ang="0">
                      <a:pos x="12" y="163"/>
                    </a:cxn>
                    <a:cxn ang="0">
                      <a:pos x="24" y="175"/>
                    </a:cxn>
                    <a:cxn ang="0">
                      <a:pos x="105" y="175"/>
                    </a:cxn>
                    <a:cxn ang="0">
                      <a:pos x="116" y="164"/>
                    </a:cxn>
                  </a:cxnLst>
                  <a:rect l="0" t="0" r="r" b="b"/>
                  <a:pathLst>
                    <a:path w="142" h="175">
                      <a:moveTo>
                        <a:pt x="142" y="86"/>
                      </a:moveTo>
                      <a:cubicBezTo>
                        <a:pt x="121" y="86"/>
                        <a:pt x="121" y="86"/>
                        <a:pt x="121" y="86"/>
                      </a:cubicBezTo>
                      <a:cubicBezTo>
                        <a:pt x="121" y="86"/>
                        <a:pt x="115" y="84"/>
                        <a:pt x="112" y="81"/>
                      </a:cubicBezTo>
                      <a:cubicBezTo>
                        <a:pt x="109" y="77"/>
                        <a:pt x="86" y="54"/>
                        <a:pt x="86" y="40"/>
                      </a:cubicBezTo>
                      <a:cubicBezTo>
                        <a:pt x="85" y="31"/>
                        <a:pt x="86" y="12"/>
                        <a:pt x="86" y="12"/>
                      </a:cubicBezTo>
                      <a:cubicBezTo>
                        <a:pt x="86" y="12"/>
                        <a:pt x="86" y="0"/>
                        <a:pt x="74" y="8"/>
                      </a:cubicBezTo>
                      <a:cubicBezTo>
                        <a:pt x="67" y="13"/>
                        <a:pt x="54" y="30"/>
                        <a:pt x="66" y="72"/>
                      </a:cubicBezTo>
                      <a:cubicBezTo>
                        <a:pt x="67" y="75"/>
                        <a:pt x="67" y="77"/>
                        <a:pt x="59" y="77"/>
                      </a:cubicBezTo>
                      <a:cubicBezTo>
                        <a:pt x="15" y="77"/>
                        <a:pt x="15" y="77"/>
                        <a:pt x="15" y="77"/>
                      </a:cubicBezTo>
                      <a:cubicBezTo>
                        <a:pt x="15" y="77"/>
                        <a:pt x="3" y="78"/>
                        <a:pt x="3" y="89"/>
                      </a:cubicBezTo>
                      <a:cubicBezTo>
                        <a:pt x="3" y="99"/>
                        <a:pt x="8" y="102"/>
                        <a:pt x="16" y="102"/>
                      </a:cubicBezTo>
                      <a:cubicBezTo>
                        <a:pt x="16" y="102"/>
                        <a:pt x="0" y="101"/>
                        <a:pt x="0" y="117"/>
                      </a:cubicBezTo>
                      <a:cubicBezTo>
                        <a:pt x="0" y="124"/>
                        <a:pt x="8" y="130"/>
                        <a:pt x="16" y="130"/>
                      </a:cubicBezTo>
                      <a:cubicBezTo>
                        <a:pt x="16" y="130"/>
                        <a:pt x="5" y="132"/>
                        <a:pt x="5" y="142"/>
                      </a:cubicBezTo>
                      <a:cubicBezTo>
                        <a:pt x="5" y="150"/>
                        <a:pt x="16" y="154"/>
                        <a:pt x="21" y="154"/>
                      </a:cubicBezTo>
                      <a:cubicBezTo>
                        <a:pt x="21" y="154"/>
                        <a:pt x="12" y="155"/>
                        <a:pt x="12" y="163"/>
                      </a:cubicBezTo>
                      <a:cubicBezTo>
                        <a:pt x="12" y="172"/>
                        <a:pt x="19" y="175"/>
                        <a:pt x="24" y="175"/>
                      </a:cubicBezTo>
                      <a:cubicBezTo>
                        <a:pt x="105" y="175"/>
                        <a:pt x="105" y="175"/>
                        <a:pt x="105" y="175"/>
                      </a:cubicBezTo>
                      <a:cubicBezTo>
                        <a:pt x="105" y="175"/>
                        <a:pt x="116" y="175"/>
                        <a:pt x="116" y="164"/>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00" b="0" i="0" u="none" strike="noStrike" kern="1200" cap="none" spc="0" normalizeH="0" baseline="0" noProof="0">
                    <a:ln>
                      <a:noFill/>
                    </a:ln>
                    <a:solidFill>
                      <a:prstClr val="black"/>
                    </a:solidFill>
                    <a:effectLst/>
                    <a:uLnTx/>
                    <a:uFillTx/>
                    <a:latin typeface="Verdana"/>
                    <a:ea typeface="+mn-ea"/>
                    <a:cs typeface="Arial" pitchFamily="34" charset="0"/>
                  </a:endParaRPr>
                </a:p>
              </p:txBody>
            </p:sp>
            <p:sp>
              <p:nvSpPr>
                <p:cNvPr id="48" name="Freeform 413">
                  <a:extLst>
                    <a:ext uri="{FF2B5EF4-FFF2-40B4-BE49-F238E27FC236}">
                      <a16:creationId xmlns:a16="http://schemas.microsoft.com/office/drawing/2014/main" id="{B4DD62B4-158C-03E1-2D58-8777F8243C0E}"/>
                    </a:ext>
                  </a:extLst>
                </p:cNvPr>
                <p:cNvSpPr>
                  <a:spLocks/>
                </p:cNvSpPr>
                <p:nvPr/>
              </p:nvSpPr>
              <p:spPr bwMode="auto">
                <a:xfrm>
                  <a:off x="7211859" y="5831951"/>
                  <a:ext cx="77338" cy="186778"/>
                </a:xfrm>
                <a:custGeom>
                  <a:avLst/>
                  <a:gdLst/>
                  <a:ahLst/>
                  <a:cxnLst>
                    <a:cxn ang="0">
                      <a:pos x="43" y="0"/>
                    </a:cxn>
                    <a:cxn ang="0">
                      <a:pos x="13" y="0"/>
                    </a:cxn>
                    <a:cxn ang="0">
                      <a:pos x="0" y="13"/>
                    </a:cxn>
                    <a:cxn ang="0">
                      <a:pos x="0" y="94"/>
                    </a:cxn>
                    <a:cxn ang="0">
                      <a:pos x="11" y="105"/>
                    </a:cxn>
                    <a:cxn ang="0">
                      <a:pos x="43" y="105"/>
                    </a:cxn>
                  </a:cxnLst>
                  <a:rect l="0" t="0" r="r" b="b"/>
                  <a:pathLst>
                    <a:path w="43" h="105">
                      <a:moveTo>
                        <a:pt x="43" y="0"/>
                      </a:moveTo>
                      <a:cubicBezTo>
                        <a:pt x="13" y="0"/>
                        <a:pt x="13" y="0"/>
                        <a:pt x="13" y="0"/>
                      </a:cubicBezTo>
                      <a:cubicBezTo>
                        <a:pt x="13" y="0"/>
                        <a:pt x="0" y="0"/>
                        <a:pt x="0" y="13"/>
                      </a:cubicBezTo>
                      <a:cubicBezTo>
                        <a:pt x="0" y="94"/>
                        <a:pt x="0" y="94"/>
                        <a:pt x="0" y="94"/>
                      </a:cubicBezTo>
                      <a:cubicBezTo>
                        <a:pt x="0" y="94"/>
                        <a:pt x="5" y="105"/>
                        <a:pt x="11" y="105"/>
                      </a:cubicBezTo>
                      <a:cubicBezTo>
                        <a:pt x="43" y="105"/>
                        <a:pt x="43" y="105"/>
                        <a:pt x="43" y="105"/>
                      </a:cubicBezTo>
                    </a:path>
                  </a:pathLst>
                </a:custGeom>
                <a:noFill/>
                <a:ln w="95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00" b="0" i="0" u="none" strike="noStrike" kern="1200" cap="none" spc="0" normalizeH="0" baseline="0" noProof="0">
                    <a:ln>
                      <a:noFill/>
                    </a:ln>
                    <a:solidFill>
                      <a:prstClr val="black"/>
                    </a:solidFill>
                    <a:effectLst/>
                    <a:uLnTx/>
                    <a:uFillTx/>
                    <a:latin typeface="Verdana"/>
                    <a:ea typeface="+mn-ea"/>
                    <a:cs typeface="Arial" pitchFamily="34" charset="0"/>
                  </a:endParaRPr>
                </a:p>
              </p:txBody>
            </p:sp>
            <p:sp>
              <p:nvSpPr>
                <p:cNvPr id="49" name="Oval 414">
                  <a:extLst>
                    <a:ext uri="{FF2B5EF4-FFF2-40B4-BE49-F238E27FC236}">
                      <a16:creationId xmlns:a16="http://schemas.microsoft.com/office/drawing/2014/main" id="{55F4D82D-1F43-6535-D439-0CA32C60E725}"/>
                    </a:ext>
                  </a:extLst>
                </p:cNvPr>
                <p:cNvSpPr>
                  <a:spLocks noChangeArrowheads="1"/>
                </p:cNvSpPr>
                <p:nvPr/>
              </p:nvSpPr>
              <p:spPr bwMode="auto">
                <a:xfrm>
                  <a:off x="7241043" y="5972034"/>
                  <a:ext cx="26266" cy="29184"/>
                </a:xfrm>
                <a:prstGeom prst="ellipse">
                  <a:avLst/>
                </a:prstGeom>
                <a:noFill/>
                <a:ln w="95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00" b="0" i="0" u="none" strike="noStrike" kern="1200" cap="none" spc="0" normalizeH="0" baseline="0" noProof="0">
                    <a:ln>
                      <a:noFill/>
                    </a:ln>
                    <a:solidFill>
                      <a:prstClr val="black"/>
                    </a:solidFill>
                    <a:effectLst/>
                    <a:uLnTx/>
                    <a:uFillTx/>
                    <a:latin typeface="Verdana"/>
                    <a:ea typeface="+mn-ea"/>
                    <a:cs typeface="Arial" pitchFamily="34" charset="0"/>
                  </a:endParaRPr>
                </a:p>
              </p:txBody>
            </p:sp>
          </p:grpSp>
        </p:grpSp>
      </p:grpSp>
      <p:grpSp>
        <p:nvGrpSpPr>
          <p:cNvPr id="50" name="Group 49">
            <a:extLst>
              <a:ext uri="{FF2B5EF4-FFF2-40B4-BE49-F238E27FC236}">
                <a16:creationId xmlns:a16="http://schemas.microsoft.com/office/drawing/2014/main" id="{506B06FD-50C8-0075-21F7-D7A40EDFC0A3}"/>
              </a:ext>
            </a:extLst>
          </p:cNvPr>
          <p:cNvGrpSpPr/>
          <p:nvPr/>
        </p:nvGrpSpPr>
        <p:grpSpPr>
          <a:xfrm>
            <a:off x="5339688" y="1536567"/>
            <a:ext cx="1859827" cy="577081"/>
            <a:chOff x="2518564" y="1642746"/>
            <a:chExt cx="1987275" cy="619841"/>
          </a:xfrm>
        </p:grpSpPr>
        <p:sp>
          <p:nvSpPr>
            <p:cNvPr id="51" name="Rectangle 50">
              <a:extLst>
                <a:ext uri="{FF2B5EF4-FFF2-40B4-BE49-F238E27FC236}">
                  <a16:creationId xmlns:a16="http://schemas.microsoft.com/office/drawing/2014/main" id="{6C538D26-C2DC-8E61-1D0E-FC502311057E}"/>
                </a:ext>
              </a:extLst>
            </p:cNvPr>
            <p:cNvSpPr/>
            <p:nvPr/>
          </p:nvSpPr>
          <p:spPr>
            <a:xfrm>
              <a:off x="3097265" y="1642746"/>
              <a:ext cx="1408574" cy="619841"/>
            </a:xfrm>
            <a:prstGeom prst="rect">
              <a:avLst/>
            </a:prstGeom>
          </p:spPr>
          <p:txBody>
            <a:bodyPr wrap="square" lIns="27432">
              <a:spAutoFit/>
            </a:bodyPr>
            <a:lstStyle/>
            <a:p>
              <a:pPr marL="0" marR="0" lvl="0" indent="0" algn="l" defTabSz="914400" rtl="0" eaLnBrk="1" fontAlgn="auto" latinLnBrk="0" hangingPunct="1">
                <a:lnSpc>
                  <a:spcPct val="100000"/>
                </a:lnSpc>
                <a:spcBef>
                  <a:spcPts val="0"/>
                </a:spcBef>
                <a:spcAft>
                  <a:spcPts val="0"/>
                </a:spcAft>
                <a:buClr>
                  <a:srgbClr val="0070AD"/>
                </a:buClr>
                <a:buSzTx/>
                <a:buFontTx/>
                <a:buNone/>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70 associates across Corporate Apps and ITSM</a:t>
              </a:r>
            </a:p>
          </p:txBody>
        </p:sp>
        <p:sp>
          <p:nvSpPr>
            <p:cNvPr id="52" name="Retângulo 9">
              <a:extLst>
                <a:ext uri="{FF2B5EF4-FFF2-40B4-BE49-F238E27FC236}">
                  <a16:creationId xmlns:a16="http://schemas.microsoft.com/office/drawing/2014/main" id="{D0273BF6-BD6D-2E3F-D1E2-F46D2B1AB192}"/>
                </a:ext>
              </a:extLst>
            </p:cNvPr>
            <p:cNvSpPr/>
            <p:nvPr/>
          </p:nvSpPr>
          <p:spPr>
            <a:xfrm>
              <a:off x="2518564" y="1685682"/>
              <a:ext cx="548640" cy="548640"/>
            </a:xfrm>
            <a:prstGeom prst="rect">
              <a:avLst/>
            </a:prstGeom>
            <a:solidFill>
              <a:srgbClr val="F26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PT" sz="1200" b="0" i="0" u="none" strike="noStrike" kern="1200" cap="none" spc="0" normalizeH="0" baseline="0" noProof="0">
                <a:ln>
                  <a:noFill/>
                </a:ln>
                <a:solidFill>
                  <a:prstClr val="white"/>
                </a:solidFill>
                <a:effectLst/>
                <a:uLnTx/>
                <a:uFillTx/>
                <a:latin typeface="Verdana"/>
                <a:ea typeface="+mn-ea"/>
                <a:cs typeface="+mn-cs"/>
              </a:endParaRPr>
            </a:p>
          </p:txBody>
        </p:sp>
        <p:grpSp>
          <p:nvGrpSpPr>
            <p:cNvPr id="53" name="Group 52">
              <a:extLst>
                <a:ext uri="{FF2B5EF4-FFF2-40B4-BE49-F238E27FC236}">
                  <a16:creationId xmlns:a16="http://schemas.microsoft.com/office/drawing/2014/main" id="{F13BA6D0-34E5-4716-B979-6B0CAAA23E5D}"/>
                </a:ext>
              </a:extLst>
            </p:cNvPr>
            <p:cNvGrpSpPr>
              <a:grpSpLocks noChangeAspect="1"/>
            </p:cNvGrpSpPr>
            <p:nvPr/>
          </p:nvGrpSpPr>
          <p:grpSpPr>
            <a:xfrm>
              <a:off x="2616104" y="1795508"/>
              <a:ext cx="365760" cy="328988"/>
              <a:chOff x="2182628" y="3451778"/>
              <a:chExt cx="846377" cy="569355"/>
            </a:xfrm>
          </p:grpSpPr>
          <p:sp>
            <p:nvSpPr>
              <p:cNvPr id="54" name="Freeform 6">
                <a:extLst>
                  <a:ext uri="{FF2B5EF4-FFF2-40B4-BE49-F238E27FC236}">
                    <a16:creationId xmlns:a16="http://schemas.microsoft.com/office/drawing/2014/main" id="{12713398-D7B6-C3AB-5433-4D2F319522EF}"/>
                  </a:ext>
                </a:extLst>
              </p:cNvPr>
              <p:cNvSpPr>
                <a:spLocks/>
              </p:cNvSpPr>
              <p:nvPr/>
            </p:nvSpPr>
            <p:spPr bwMode="auto">
              <a:xfrm>
                <a:off x="2182628" y="3451778"/>
                <a:ext cx="367466" cy="307915"/>
              </a:xfrm>
              <a:custGeom>
                <a:avLst/>
                <a:gdLst/>
                <a:ahLst/>
                <a:cxnLst>
                  <a:cxn ang="0">
                    <a:pos x="51" y="71"/>
                  </a:cxn>
                  <a:cxn ang="0">
                    <a:pos x="0" y="36"/>
                  </a:cxn>
                  <a:cxn ang="0">
                    <a:pos x="51" y="0"/>
                  </a:cxn>
                  <a:cxn ang="0">
                    <a:pos x="51" y="20"/>
                  </a:cxn>
                  <a:cxn ang="0">
                    <a:pos x="70" y="20"/>
                  </a:cxn>
                  <a:cxn ang="0">
                    <a:pos x="107" y="54"/>
                  </a:cxn>
                  <a:cxn ang="0">
                    <a:pos x="86" y="90"/>
                  </a:cxn>
                  <a:cxn ang="0">
                    <a:pos x="86" y="65"/>
                  </a:cxn>
                  <a:cxn ang="0">
                    <a:pos x="68" y="51"/>
                  </a:cxn>
                  <a:cxn ang="0">
                    <a:pos x="51" y="51"/>
                  </a:cxn>
                </a:cxnLst>
                <a:rect l="0" t="0" r="r" b="b"/>
                <a:pathLst>
                  <a:path w="107" h="90">
                    <a:moveTo>
                      <a:pt x="51" y="71"/>
                    </a:moveTo>
                    <a:cubicBezTo>
                      <a:pt x="0" y="36"/>
                      <a:pt x="0" y="36"/>
                      <a:pt x="0" y="36"/>
                    </a:cubicBezTo>
                    <a:cubicBezTo>
                      <a:pt x="51" y="0"/>
                      <a:pt x="51" y="0"/>
                      <a:pt x="51" y="0"/>
                    </a:cubicBezTo>
                    <a:cubicBezTo>
                      <a:pt x="51" y="20"/>
                      <a:pt x="51" y="20"/>
                      <a:pt x="51" y="20"/>
                    </a:cubicBezTo>
                    <a:cubicBezTo>
                      <a:pt x="51" y="20"/>
                      <a:pt x="60" y="20"/>
                      <a:pt x="70" y="20"/>
                    </a:cubicBezTo>
                    <a:cubicBezTo>
                      <a:pt x="84" y="21"/>
                      <a:pt x="107" y="31"/>
                      <a:pt x="107" y="54"/>
                    </a:cubicBezTo>
                    <a:cubicBezTo>
                      <a:pt x="107" y="71"/>
                      <a:pt x="93" y="88"/>
                      <a:pt x="86" y="90"/>
                    </a:cubicBezTo>
                    <a:cubicBezTo>
                      <a:pt x="86" y="90"/>
                      <a:pt x="87" y="69"/>
                      <a:pt x="86" y="65"/>
                    </a:cubicBezTo>
                    <a:cubicBezTo>
                      <a:pt x="86" y="63"/>
                      <a:pt x="85" y="52"/>
                      <a:pt x="68" y="51"/>
                    </a:cubicBezTo>
                    <a:cubicBezTo>
                      <a:pt x="51" y="51"/>
                      <a:pt x="51" y="51"/>
                      <a:pt x="51" y="51"/>
                    </a:cubicBezTo>
                  </a:path>
                </a:pathLst>
              </a:custGeom>
              <a:noFill/>
              <a:ln w="158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55" name="Freeform 7">
                <a:extLst>
                  <a:ext uri="{FF2B5EF4-FFF2-40B4-BE49-F238E27FC236}">
                    <a16:creationId xmlns:a16="http://schemas.microsoft.com/office/drawing/2014/main" id="{0B2B1C9D-2700-B04F-2287-92A83523F86D}"/>
                  </a:ext>
                </a:extLst>
              </p:cNvPr>
              <p:cNvSpPr>
                <a:spLocks/>
              </p:cNvSpPr>
              <p:nvPr/>
            </p:nvSpPr>
            <p:spPr bwMode="auto">
              <a:xfrm>
                <a:off x="2182628" y="3716120"/>
                <a:ext cx="367466" cy="305013"/>
              </a:xfrm>
              <a:custGeom>
                <a:avLst/>
                <a:gdLst/>
                <a:ahLst/>
                <a:cxnLst>
                  <a:cxn ang="0">
                    <a:pos x="56" y="18"/>
                  </a:cxn>
                  <a:cxn ang="0">
                    <a:pos x="107" y="53"/>
                  </a:cxn>
                  <a:cxn ang="0">
                    <a:pos x="56" y="89"/>
                  </a:cxn>
                  <a:cxn ang="0">
                    <a:pos x="56" y="69"/>
                  </a:cxn>
                  <a:cxn ang="0">
                    <a:pos x="37" y="69"/>
                  </a:cxn>
                  <a:cxn ang="0">
                    <a:pos x="0" y="36"/>
                  </a:cxn>
                  <a:cxn ang="0">
                    <a:pos x="21" y="0"/>
                  </a:cxn>
                  <a:cxn ang="0">
                    <a:pos x="21" y="24"/>
                  </a:cxn>
                  <a:cxn ang="0">
                    <a:pos x="39" y="38"/>
                  </a:cxn>
                  <a:cxn ang="0">
                    <a:pos x="56" y="38"/>
                  </a:cxn>
                </a:cxnLst>
                <a:rect l="0" t="0" r="r" b="b"/>
                <a:pathLst>
                  <a:path w="107" h="89">
                    <a:moveTo>
                      <a:pt x="56" y="18"/>
                    </a:moveTo>
                    <a:cubicBezTo>
                      <a:pt x="107" y="53"/>
                      <a:pt x="107" y="53"/>
                      <a:pt x="107" y="53"/>
                    </a:cubicBezTo>
                    <a:cubicBezTo>
                      <a:pt x="56" y="89"/>
                      <a:pt x="56" y="89"/>
                      <a:pt x="56" y="89"/>
                    </a:cubicBezTo>
                    <a:cubicBezTo>
                      <a:pt x="56" y="69"/>
                      <a:pt x="56" y="69"/>
                      <a:pt x="56" y="69"/>
                    </a:cubicBezTo>
                    <a:cubicBezTo>
                      <a:pt x="56" y="69"/>
                      <a:pt x="47" y="69"/>
                      <a:pt x="37" y="69"/>
                    </a:cubicBezTo>
                    <a:cubicBezTo>
                      <a:pt x="23" y="69"/>
                      <a:pt x="0" y="58"/>
                      <a:pt x="0" y="36"/>
                    </a:cubicBezTo>
                    <a:cubicBezTo>
                      <a:pt x="0" y="18"/>
                      <a:pt x="15" y="2"/>
                      <a:pt x="21" y="0"/>
                    </a:cubicBezTo>
                    <a:cubicBezTo>
                      <a:pt x="21" y="0"/>
                      <a:pt x="20" y="20"/>
                      <a:pt x="21" y="24"/>
                    </a:cubicBezTo>
                    <a:cubicBezTo>
                      <a:pt x="21" y="26"/>
                      <a:pt x="22" y="38"/>
                      <a:pt x="39" y="38"/>
                    </a:cubicBezTo>
                    <a:cubicBezTo>
                      <a:pt x="56" y="38"/>
                      <a:pt x="56" y="38"/>
                      <a:pt x="56" y="38"/>
                    </a:cubicBezTo>
                  </a:path>
                </a:pathLst>
              </a:custGeom>
              <a:noFill/>
              <a:ln w="158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nvGrpSpPr>
              <p:cNvPr id="56" name="Group 55">
                <a:extLst>
                  <a:ext uri="{FF2B5EF4-FFF2-40B4-BE49-F238E27FC236}">
                    <a16:creationId xmlns:a16="http://schemas.microsoft.com/office/drawing/2014/main" id="{23E8C8BE-6662-B8EA-B38B-5D3AFA7AD27A}"/>
                  </a:ext>
                </a:extLst>
              </p:cNvPr>
              <p:cNvGrpSpPr/>
              <p:nvPr/>
            </p:nvGrpSpPr>
            <p:grpSpPr>
              <a:xfrm>
                <a:off x="2610703" y="3475017"/>
                <a:ext cx="418302" cy="533044"/>
                <a:chOff x="2610703" y="3475017"/>
                <a:chExt cx="418302" cy="533044"/>
              </a:xfrm>
            </p:grpSpPr>
            <p:sp>
              <p:nvSpPr>
                <p:cNvPr id="57" name="Freeform 8">
                  <a:extLst>
                    <a:ext uri="{FF2B5EF4-FFF2-40B4-BE49-F238E27FC236}">
                      <a16:creationId xmlns:a16="http://schemas.microsoft.com/office/drawing/2014/main" id="{0E79FA2D-5ED8-435D-93A7-9ADE07C53F89}"/>
                    </a:ext>
                  </a:extLst>
                </p:cNvPr>
                <p:cNvSpPr>
                  <a:spLocks/>
                </p:cNvSpPr>
                <p:nvPr/>
              </p:nvSpPr>
              <p:spPr bwMode="auto">
                <a:xfrm>
                  <a:off x="2610703" y="3475017"/>
                  <a:ext cx="167031" cy="236748"/>
                </a:xfrm>
                <a:custGeom>
                  <a:avLst/>
                  <a:gdLst/>
                  <a:ahLst/>
                  <a:cxnLst>
                    <a:cxn ang="0">
                      <a:pos x="49" y="52"/>
                    </a:cxn>
                    <a:cxn ang="0">
                      <a:pos x="31" y="29"/>
                    </a:cxn>
                    <a:cxn ang="0">
                      <a:pos x="38" y="15"/>
                    </a:cxn>
                    <a:cxn ang="0">
                      <a:pos x="25" y="0"/>
                    </a:cxn>
                    <a:cxn ang="0">
                      <a:pos x="13" y="15"/>
                    </a:cxn>
                    <a:cxn ang="0">
                      <a:pos x="20" y="29"/>
                    </a:cxn>
                    <a:cxn ang="0">
                      <a:pos x="0" y="69"/>
                    </a:cxn>
                  </a:cxnLst>
                  <a:rect l="0" t="0" r="r" b="b"/>
                  <a:pathLst>
                    <a:path w="49" h="69">
                      <a:moveTo>
                        <a:pt x="49" y="52"/>
                      </a:moveTo>
                      <a:cubicBezTo>
                        <a:pt x="47" y="41"/>
                        <a:pt x="41" y="32"/>
                        <a:pt x="31" y="29"/>
                      </a:cubicBezTo>
                      <a:cubicBezTo>
                        <a:pt x="34" y="26"/>
                        <a:pt x="38" y="20"/>
                        <a:pt x="38" y="15"/>
                      </a:cubicBezTo>
                      <a:cubicBezTo>
                        <a:pt x="38" y="6"/>
                        <a:pt x="32" y="0"/>
                        <a:pt x="25" y="0"/>
                      </a:cubicBezTo>
                      <a:cubicBezTo>
                        <a:pt x="18" y="0"/>
                        <a:pt x="13" y="6"/>
                        <a:pt x="13" y="15"/>
                      </a:cubicBezTo>
                      <a:cubicBezTo>
                        <a:pt x="13" y="20"/>
                        <a:pt x="17" y="26"/>
                        <a:pt x="20" y="29"/>
                      </a:cubicBezTo>
                      <a:cubicBezTo>
                        <a:pt x="5" y="33"/>
                        <a:pt x="0" y="49"/>
                        <a:pt x="0" y="69"/>
                      </a:cubicBezTo>
                    </a:path>
                  </a:pathLst>
                </a:custGeom>
                <a:noFill/>
                <a:ln w="158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58" name="Freeform 9">
                  <a:extLst>
                    <a:ext uri="{FF2B5EF4-FFF2-40B4-BE49-F238E27FC236}">
                      <a16:creationId xmlns:a16="http://schemas.microsoft.com/office/drawing/2014/main" id="{49B388C0-16E9-97EE-C83D-DB4DF723A36F}"/>
                    </a:ext>
                  </a:extLst>
                </p:cNvPr>
                <p:cNvSpPr>
                  <a:spLocks/>
                </p:cNvSpPr>
                <p:nvPr/>
              </p:nvSpPr>
              <p:spPr bwMode="auto">
                <a:xfrm>
                  <a:off x="2658633" y="3719026"/>
                  <a:ext cx="78432" cy="2905"/>
                </a:xfrm>
                <a:custGeom>
                  <a:avLst/>
                  <a:gdLst/>
                  <a:ahLst/>
                  <a:cxnLst>
                    <a:cxn ang="0">
                      <a:pos x="23" y="0"/>
                    </a:cxn>
                    <a:cxn ang="0">
                      <a:pos x="0" y="0"/>
                    </a:cxn>
                  </a:cxnLst>
                  <a:rect l="0" t="0" r="r" b="b"/>
                  <a:pathLst>
                    <a:path w="23" h="1">
                      <a:moveTo>
                        <a:pt x="23" y="0"/>
                      </a:moveTo>
                      <a:cubicBezTo>
                        <a:pt x="16" y="1"/>
                        <a:pt x="8" y="1"/>
                        <a:pt x="0" y="0"/>
                      </a:cubicBezTo>
                    </a:path>
                  </a:pathLst>
                </a:custGeom>
                <a:noFill/>
                <a:ln w="158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59" name="Freeform 10">
                  <a:extLst>
                    <a:ext uri="{FF2B5EF4-FFF2-40B4-BE49-F238E27FC236}">
                      <a16:creationId xmlns:a16="http://schemas.microsoft.com/office/drawing/2014/main" id="{6EB004FD-6FC2-9663-1A84-31FEB6EF9636}"/>
                    </a:ext>
                  </a:extLst>
                </p:cNvPr>
                <p:cNvSpPr>
                  <a:spLocks/>
                </p:cNvSpPr>
                <p:nvPr/>
              </p:nvSpPr>
              <p:spPr bwMode="auto">
                <a:xfrm>
                  <a:off x="2853260" y="3533114"/>
                  <a:ext cx="175745" cy="296297"/>
                </a:xfrm>
                <a:custGeom>
                  <a:avLst/>
                  <a:gdLst/>
                  <a:ahLst/>
                  <a:cxnLst>
                    <a:cxn ang="0">
                      <a:pos x="0" y="45"/>
                    </a:cxn>
                    <a:cxn ang="0">
                      <a:pos x="14" y="35"/>
                    </a:cxn>
                    <a:cxn ang="0">
                      <a:pos x="6" y="19"/>
                    </a:cxn>
                    <a:cxn ang="0">
                      <a:pos x="21" y="0"/>
                    </a:cxn>
                    <a:cxn ang="0">
                      <a:pos x="35" y="19"/>
                    </a:cxn>
                    <a:cxn ang="0">
                      <a:pos x="27" y="35"/>
                    </a:cxn>
                    <a:cxn ang="0">
                      <a:pos x="51" y="82"/>
                    </a:cxn>
                    <a:cxn ang="0">
                      <a:pos x="7" y="85"/>
                    </a:cxn>
                  </a:cxnLst>
                  <a:rect l="0" t="0" r="r" b="b"/>
                  <a:pathLst>
                    <a:path w="51" h="86">
                      <a:moveTo>
                        <a:pt x="0" y="45"/>
                      </a:moveTo>
                      <a:cubicBezTo>
                        <a:pt x="3" y="40"/>
                        <a:pt x="8" y="37"/>
                        <a:pt x="14" y="35"/>
                      </a:cubicBezTo>
                      <a:cubicBezTo>
                        <a:pt x="10" y="32"/>
                        <a:pt x="6" y="25"/>
                        <a:pt x="6" y="19"/>
                      </a:cubicBezTo>
                      <a:cubicBezTo>
                        <a:pt x="6" y="8"/>
                        <a:pt x="12" y="0"/>
                        <a:pt x="21" y="0"/>
                      </a:cubicBezTo>
                      <a:cubicBezTo>
                        <a:pt x="29" y="0"/>
                        <a:pt x="35" y="8"/>
                        <a:pt x="35" y="19"/>
                      </a:cubicBezTo>
                      <a:cubicBezTo>
                        <a:pt x="35" y="25"/>
                        <a:pt x="31" y="32"/>
                        <a:pt x="27" y="35"/>
                      </a:cubicBezTo>
                      <a:cubicBezTo>
                        <a:pt x="45" y="40"/>
                        <a:pt x="51" y="59"/>
                        <a:pt x="51" y="82"/>
                      </a:cubicBezTo>
                      <a:cubicBezTo>
                        <a:pt x="51" y="85"/>
                        <a:pt x="24" y="86"/>
                        <a:pt x="7" y="85"/>
                      </a:cubicBezTo>
                    </a:path>
                  </a:pathLst>
                </a:custGeom>
                <a:noFill/>
                <a:ln w="158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60" name="Freeform 11">
                  <a:extLst>
                    <a:ext uri="{FF2B5EF4-FFF2-40B4-BE49-F238E27FC236}">
                      <a16:creationId xmlns:a16="http://schemas.microsoft.com/office/drawing/2014/main" id="{E77C05ED-2B3B-0B6D-13F1-61FCDBF7C4A2}"/>
                    </a:ext>
                  </a:extLst>
                </p:cNvPr>
                <p:cNvSpPr>
                  <a:spLocks/>
                </p:cNvSpPr>
                <p:nvPr/>
              </p:nvSpPr>
              <p:spPr bwMode="auto">
                <a:xfrm>
                  <a:off x="2737065" y="3653666"/>
                  <a:ext cx="40668" cy="65360"/>
                </a:xfrm>
                <a:custGeom>
                  <a:avLst/>
                  <a:gdLst/>
                  <a:ahLst/>
                  <a:cxnLst>
                    <a:cxn ang="0">
                      <a:pos x="0" y="19"/>
                    </a:cxn>
                    <a:cxn ang="0">
                      <a:pos x="12" y="0"/>
                    </a:cxn>
                  </a:cxnLst>
                  <a:rect l="0" t="0" r="r" b="b"/>
                  <a:pathLst>
                    <a:path w="12" h="19">
                      <a:moveTo>
                        <a:pt x="0" y="19"/>
                      </a:moveTo>
                      <a:cubicBezTo>
                        <a:pt x="1" y="10"/>
                        <a:pt x="6" y="3"/>
                        <a:pt x="12" y="0"/>
                      </a:cubicBezTo>
                    </a:path>
                  </a:pathLst>
                </a:custGeom>
                <a:noFill/>
                <a:ln w="158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61" name="Freeform 12">
                  <a:extLst>
                    <a:ext uri="{FF2B5EF4-FFF2-40B4-BE49-F238E27FC236}">
                      <a16:creationId xmlns:a16="http://schemas.microsoft.com/office/drawing/2014/main" id="{E7790388-ADE9-558C-3B4D-275DA1CA4FC6}"/>
                    </a:ext>
                  </a:extLst>
                </p:cNvPr>
                <p:cNvSpPr>
                  <a:spLocks/>
                </p:cNvSpPr>
                <p:nvPr/>
              </p:nvSpPr>
              <p:spPr bwMode="auto">
                <a:xfrm>
                  <a:off x="2674611" y="3719026"/>
                  <a:ext cx="97314" cy="271606"/>
                </a:xfrm>
                <a:custGeom>
                  <a:avLst/>
                  <a:gdLst/>
                  <a:ahLst/>
                  <a:cxnLst>
                    <a:cxn ang="0">
                      <a:pos x="18" y="0"/>
                    </a:cxn>
                    <a:cxn ang="0">
                      <a:pos x="18" y="2"/>
                    </a:cxn>
                    <a:cxn ang="0">
                      <a:pos x="28" y="22"/>
                    </a:cxn>
                    <a:cxn ang="0">
                      <a:pos x="0" y="79"/>
                    </a:cxn>
                  </a:cxnLst>
                  <a:rect l="0" t="0" r="r" b="b"/>
                  <a:pathLst>
                    <a:path w="28" h="79">
                      <a:moveTo>
                        <a:pt x="18" y="0"/>
                      </a:moveTo>
                      <a:cubicBezTo>
                        <a:pt x="18" y="1"/>
                        <a:pt x="18" y="2"/>
                        <a:pt x="18" y="2"/>
                      </a:cubicBezTo>
                      <a:cubicBezTo>
                        <a:pt x="18" y="10"/>
                        <a:pt x="23" y="18"/>
                        <a:pt x="28" y="22"/>
                      </a:cubicBezTo>
                      <a:cubicBezTo>
                        <a:pt x="7" y="28"/>
                        <a:pt x="0" y="51"/>
                        <a:pt x="0" y="79"/>
                      </a:cubicBezTo>
                    </a:path>
                  </a:pathLst>
                </a:custGeom>
                <a:noFill/>
                <a:ln w="158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62" name="Freeform 13">
                  <a:extLst>
                    <a:ext uri="{FF2B5EF4-FFF2-40B4-BE49-F238E27FC236}">
                      <a16:creationId xmlns:a16="http://schemas.microsoft.com/office/drawing/2014/main" id="{92919D48-37FB-FDD1-0A87-EF58854CD712}"/>
                    </a:ext>
                  </a:extLst>
                </p:cNvPr>
                <p:cNvSpPr>
                  <a:spLocks/>
                </p:cNvSpPr>
                <p:nvPr/>
              </p:nvSpPr>
              <p:spPr bwMode="auto">
                <a:xfrm>
                  <a:off x="2747232" y="3825054"/>
                  <a:ext cx="175745" cy="183007"/>
                </a:xfrm>
                <a:custGeom>
                  <a:avLst/>
                  <a:gdLst/>
                  <a:ahLst/>
                  <a:cxnLst>
                    <a:cxn ang="0">
                      <a:pos x="38" y="0"/>
                    </a:cxn>
                    <a:cxn ang="0">
                      <a:pos x="51" y="48"/>
                    </a:cxn>
                    <a:cxn ang="0">
                      <a:pos x="0" y="52"/>
                    </a:cxn>
                  </a:cxnLst>
                  <a:rect l="0" t="0" r="r" b="b"/>
                  <a:pathLst>
                    <a:path w="51" h="53">
                      <a:moveTo>
                        <a:pt x="38" y="0"/>
                      </a:moveTo>
                      <a:cubicBezTo>
                        <a:pt x="48" y="11"/>
                        <a:pt x="51" y="28"/>
                        <a:pt x="51" y="48"/>
                      </a:cubicBezTo>
                      <a:cubicBezTo>
                        <a:pt x="51" y="52"/>
                        <a:pt x="22" y="53"/>
                        <a:pt x="0" y="52"/>
                      </a:cubicBezTo>
                    </a:path>
                  </a:pathLst>
                </a:custGeom>
                <a:noFill/>
                <a:ln w="158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63" name="Freeform 14">
                  <a:extLst>
                    <a:ext uri="{FF2B5EF4-FFF2-40B4-BE49-F238E27FC236}">
                      <a16:creationId xmlns:a16="http://schemas.microsoft.com/office/drawing/2014/main" id="{55C4CEEF-B339-2208-8D70-1DFD1861C710}"/>
                    </a:ext>
                  </a:extLst>
                </p:cNvPr>
                <p:cNvSpPr>
                  <a:spLocks/>
                </p:cNvSpPr>
                <p:nvPr/>
              </p:nvSpPr>
              <p:spPr bwMode="auto">
                <a:xfrm>
                  <a:off x="2777733" y="3650761"/>
                  <a:ext cx="75527" cy="37763"/>
                </a:xfrm>
                <a:custGeom>
                  <a:avLst/>
                  <a:gdLst/>
                  <a:ahLst/>
                  <a:cxnLst>
                    <a:cxn ang="0">
                      <a:pos x="0" y="1"/>
                    </a:cxn>
                    <a:cxn ang="0">
                      <a:pos x="6" y="0"/>
                    </a:cxn>
                    <a:cxn ang="0">
                      <a:pos x="22" y="11"/>
                    </a:cxn>
                  </a:cxnLst>
                  <a:rect l="0" t="0" r="r" b="b"/>
                  <a:pathLst>
                    <a:path w="22" h="11">
                      <a:moveTo>
                        <a:pt x="0" y="1"/>
                      </a:moveTo>
                      <a:cubicBezTo>
                        <a:pt x="2" y="1"/>
                        <a:pt x="4" y="0"/>
                        <a:pt x="6" y="0"/>
                      </a:cubicBezTo>
                      <a:cubicBezTo>
                        <a:pt x="13" y="0"/>
                        <a:pt x="18" y="4"/>
                        <a:pt x="22" y="11"/>
                      </a:cubicBezTo>
                    </a:path>
                  </a:pathLst>
                </a:custGeom>
                <a:noFill/>
                <a:ln w="158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64" name="Freeform 15">
                  <a:extLst>
                    <a:ext uri="{FF2B5EF4-FFF2-40B4-BE49-F238E27FC236}">
                      <a16:creationId xmlns:a16="http://schemas.microsoft.com/office/drawing/2014/main" id="{28EA48E8-1FCE-DF33-F5F3-C1ED0274452B}"/>
                    </a:ext>
                  </a:extLst>
                </p:cNvPr>
                <p:cNvSpPr>
                  <a:spLocks/>
                </p:cNvSpPr>
                <p:nvPr/>
              </p:nvSpPr>
              <p:spPr bwMode="auto">
                <a:xfrm>
                  <a:off x="2825664" y="3688525"/>
                  <a:ext cx="52288" cy="136529"/>
                </a:xfrm>
                <a:custGeom>
                  <a:avLst/>
                  <a:gdLst/>
                  <a:ahLst/>
                  <a:cxnLst>
                    <a:cxn ang="0">
                      <a:pos x="8" y="0"/>
                    </a:cxn>
                    <a:cxn ang="0">
                      <a:pos x="10" y="11"/>
                    </a:cxn>
                    <a:cxn ang="0">
                      <a:pos x="0" y="31"/>
                    </a:cxn>
                    <a:cxn ang="0">
                      <a:pos x="15" y="40"/>
                    </a:cxn>
                  </a:cxnLst>
                  <a:rect l="0" t="0" r="r" b="b"/>
                  <a:pathLst>
                    <a:path w="15" h="40">
                      <a:moveTo>
                        <a:pt x="8" y="0"/>
                      </a:moveTo>
                      <a:cubicBezTo>
                        <a:pt x="9" y="3"/>
                        <a:pt x="10" y="7"/>
                        <a:pt x="10" y="11"/>
                      </a:cubicBezTo>
                      <a:cubicBezTo>
                        <a:pt x="10" y="19"/>
                        <a:pt x="4" y="27"/>
                        <a:pt x="0" y="31"/>
                      </a:cubicBezTo>
                      <a:cubicBezTo>
                        <a:pt x="6" y="33"/>
                        <a:pt x="11" y="36"/>
                        <a:pt x="15" y="40"/>
                      </a:cubicBezTo>
                    </a:path>
                  </a:pathLst>
                </a:custGeom>
                <a:noFill/>
                <a:ln w="158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grpSp>
      </p:grpSp>
      <p:cxnSp>
        <p:nvCxnSpPr>
          <p:cNvPr id="65" name="Straight Connector 64">
            <a:extLst>
              <a:ext uri="{FF2B5EF4-FFF2-40B4-BE49-F238E27FC236}">
                <a16:creationId xmlns:a16="http://schemas.microsoft.com/office/drawing/2014/main" id="{86B28FE5-0499-8465-6EB3-4C633F8D5AE0}"/>
              </a:ext>
            </a:extLst>
          </p:cNvPr>
          <p:cNvCxnSpPr>
            <a:cxnSpLocks/>
          </p:cNvCxnSpPr>
          <p:nvPr/>
        </p:nvCxnSpPr>
        <p:spPr>
          <a:xfrm>
            <a:off x="3603206" y="2572625"/>
            <a:ext cx="3749040" cy="0"/>
          </a:xfrm>
          <a:prstGeom prst="line">
            <a:avLst/>
          </a:prstGeom>
          <a:ln w="19050">
            <a:solidFill>
              <a:schemeClr val="tx2"/>
            </a:solidFill>
            <a:prstDash val="solid"/>
            <a:headEnd type="oval"/>
            <a:tailEnd type="oval"/>
          </a:ln>
        </p:spPr>
        <p:style>
          <a:lnRef idx="1">
            <a:schemeClr val="accent1"/>
          </a:lnRef>
          <a:fillRef idx="0">
            <a:schemeClr val="accent1"/>
          </a:fillRef>
          <a:effectRef idx="0">
            <a:schemeClr val="accent1"/>
          </a:effectRef>
          <a:fontRef idx="minor">
            <a:schemeClr val="tx1"/>
          </a:fontRef>
        </p:style>
      </p:cxnSp>
      <p:sp>
        <p:nvSpPr>
          <p:cNvPr id="66" name="TextBox 65">
            <a:extLst>
              <a:ext uri="{FF2B5EF4-FFF2-40B4-BE49-F238E27FC236}">
                <a16:creationId xmlns:a16="http://schemas.microsoft.com/office/drawing/2014/main" id="{18EB8EDD-C116-3C5F-C992-04852A090947}"/>
              </a:ext>
            </a:extLst>
          </p:cNvPr>
          <p:cNvSpPr txBox="1"/>
          <p:nvPr/>
        </p:nvSpPr>
        <p:spPr>
          <a:xfrm>
            <a:off x="3496499" y="2237147"/>
            <a:ext cx="3897344"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solidFill>
                <a:effectLst/>
                <a:uLnTx/>
                <a:uFillTx/>
                <a:latin typeface="Verdana"/>
                <a:ea typeface="+mn-ea"/>
                <a:cs typeface="+mn-cs"/>
              </a:rPr>
              <a:t>Proven Methodology, Tools and Accelerators</a:t>
            </a:r>
          </a:p>
        </p:txBody>
      </p:sp>
      <p:sp>
        <p:nvSpPr>
          <p:cNvPr id="67" name="Isosceles Triangle 66">
            <a:extLst>
              <a:ext uri="{FF2B5EF4-FFF2-40B4-BE49-F238E27FC236}">
                <a16:creationId xmlns:a16="http://schemas.microsoft.com/office/drawing/2014/main" id="{FD6F8B8C-DF93-DF52-3DBF-D3A1FDCB1655}"/>
              </a:ext>
            </a:extLst>
          </p:cNvPr>
          <p:cNvSpPr/>
          <p:nvPr/>
        </p:nvSpPr>
        <p:spPr>
          <a:xfrm rot="10800000">
            <a:off x="5326969" y="2581223"/>
            <a:ext cx="368146" cy="117157"/>
          </a:xfrm>
          <a:prstGeom prst="triangle">
            <a:avLst/>
          </a:prstGeom>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Verdana"/>
              <a:ea typeface="+mn-ea"/>
              <a:cs typeface="+mn-cs"/>
            </a:endParaRPr>
          </a:p>
        </p:txBody>
      </p:sp>
      <p:pic>
        <p:nvPicPr>
          <p:cNvPr id="68" name="Picture 67">
            <a:extLst>
              <a:ext uri="{FF2B5EF4-FFF2-40B4-BE49-F238E27FC236}">
                <a16:creationId xmlns:a16="http://schemas.microsoft.com/office/drawing/2014/main" id="{C9E81B0D-D256-4356-FFA8-D90036BEDBEE}"/>
              </a:ext>
            </a:extLst>
          </p:cNvPr>
          <p:cNvPicPr>
            <a:picLocks noChangeAspect="1"/>
          </p:cNvPicPr>
          <p:nvPr/>
        </p:nvPicPr>
        <p:blipFill>
          <a:blip r:embed="rId3"/>
          <a:stretch>
            <a:fillRect/>
          </a:stretch>
        </p:blipFill>
        <p:spPr>
          <a:xfrm>
            <a:off x="3448360" y="2761644"/>
            <a:ext cx="4069661" cy="1833787"/>
          </a:xfrm>
          <a:prstGeom prst="rect">
            <a:avLst/>
          </a:prstGeom>
        </p:spPr>
      </p:pic>
      <p:sp>
        <p:nvSpPr>
          <p:cNvPr id="78" name="TextBox 77">
            <a:extLst>
              <a:ext uri="{FF2B5EF4-FFF2-40B4-BE49-F238E27FC236}">
                <a16:creationId xmlns:a16="http://schemas.microsoft.com/office/drawing/2014/main" id="{BF5F8251-CE6B-8DD1-4A05-23CFA8D0D16E}"/>
              </a:ext>
            </a:extLst>
          </p:cNvPr>
          <p:cNvSpPr txBox="1"/>
          <p:nvPr/>
        </p:nvSpPr>
        <p:spPr>
          <a:xfrm>
            <a:off x="8397683" y="1552169"/>
            <a:ext cx="2672173"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Verdana"/>
                <a:ea typeface="+mn-ea"/>
                <a:cs typeface="+mn-cs"/>
              </a:rPr>
              <a:t>NYL Academy comprising of a competency framework for knowledge ramp up</a:t>
            </a:r>
            <a:endParaRPr kumimoji="0" lang="en-US" sz="1000" b="1" i="0" u="none" strike="noStrike" kern="1200" cap="none" spc="0" normalizeH="0" baseline="0" noProof="0">
              <a:ln>
                <a:noFill/>
              </a:ln>
              <a:solidFill>
                <a:srgbClr val="000000"/>
              </a:solidFill>
              <a:effectLst/>
              <a:uLnTx/>
              <a:uFillTx/>
              <a:latin typeface="Verdana"/>
              <a:ea typeface="+mn-ea"/>
              <a:cs typeface="+mn-cs"/>
            </a:endParaRPr>
          </a:p>
        </p:txBody>
      </p:sp>
      <p:grpSp>
        <p:nvGrpSpPr>
          <p:cNvPr id="79" name="Group 78">
            <a:extLst>
              <a:ext uri="{FF2B5EF4-FFF2-40B4-BE49-F238E27FC236}">
                <a16:creationId xmlns:a16="http://schemas.microsoft.com/office/drawing/2014/main" id="{80D2CE1E-E755-CACF-EDD7-6B759A289C7D}"/>
              </a:ext>
            </a:extLst>
          </p:cNvPr>
          <p:cNvGrpSpPr>
            <a:grpSpLocks noChangeAspect="1"/>
          </p:cNvGrpSpPr>
          <p:nvPr/>
        </p:nvGrpSpPr>
        <p:grpSpPr>
          <a:xfrm>
            <a:off x="8016042" y="1674152"/>
            <a:ext cx="353896" cy="340527"/>
            <a:chOff x="1382806" y="3668806"/>
            <a:chExt cx="3025588" cy="3025588"/>
          </a:xfrm>
        </p:grpSpPr>
        <p:sp>
          <p:nvSpPr>
            <p:cNvPr id="80" name="Rectangle 79">
              <a:extLst>
                <a:ext uri="{FF2B5EF4-FFF2-40B4-BE49-F238E27FC236}">
                  <a16:creationId xmlns:a16="http://schemas.microsoft.com/office/drawing/2014/main" id="{E80C655A-EF12-C39D-DE77-B69454BE3CD9}"/>
                </a:ext>
              </a:extLst>
            </p:cNvPr>
            <p:cNvSpPr/>
            <p:nvPr/>
          </p:nvSpPr>
          <p:spPr>
            <a:xfrm>
              <a:off x="1382806" y="3668806"/>
              <a:ext cx="3025588" cy="3025588"/>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white"/>
                </a:solidFill>
                <a:effectLst/>
                <a:uLnTx/>
                <a:uFillTx/>
                <a:latin typeface="Verdana"/>
                <a:ea typeface="+mn-ea"/>
                <a:cs typeface="+mn-cs"/>
              </a:endParaRPr>
            </a:p>
          </p:txBody>
        </p:sp>
        <p:sp>
          <p:nvSpPr>
            <p:cNvPr id="81" name="Freeform 7">
              <a:extLst>
                <a:ext uri="{FF2B5EF4-FFF2-40B4-BE49-F238E27FC236}">
                  <a16:creationId xmlns:a16="http://schemas.microsoft.com/office/drawing/2014/main" id="{23F8E97A-AD4B-A68C-30B0-D4FC06BF5362}"/>
                </a:ext>
              </a:extLst>
            </p:cNvPr>
            <p:cNvSpPr/>
            <p:nvPr/>
          </p:nvSpPr>
          <p:spPr>
            <a:xfrm>
              <a:off x="2338093" y="4265700"/>
              <a:ext cx="1180970" cy="1933171"/>
            </a:xfrm>
            <a:custGeom>
              <a:avLst/>
              <a:gdLst/>
              <a:ahLst/>
              <a:cxnLst/>
              <a:rect l="l" t="t" r="r" b="b"/>
              <a:pathLst>
                <a:path w="1180970" h="1933171">
                  <a:moveTo>
                    <a:pt x="634994" y="0"/>
                  </a:moveTo>
                  <a:cubicBezTo>
                    <a:pt x="672579" y="0"/>
                    <a:pt x="702993" y="742"/>
                    <a:pt x="726237" y="2226"/>
                  </a:cubicBezTo>
                  <a:cubicBezTo>
                    <a:pt x="749481" y="3709"/>
                    <a:pt x="767037" y="6182"/>
                    <a:pt x="778906" y="9644"/>
                  </a:cubicBezTo>
                  <a:cubicBezTo>
                    <a:pt x="790775" y="13106"/>
                    <a:pt x="798688" y="17804"/>
                    <a:pt x="802644" y="23738"/>
                  </a:cubicBezTo>
                  <a:cubicBezTo>
                    <a:pt x="806600" y="29673"/>
                    <a:pt x="808579" y="37091"/>
                    <a:pt x="808579" y="45993"/>
                  </a:cubicBezTo>
                  <a:lnTo>
                    <a:pt x="808579" y="1631994"/>
                  </a:lnTo>
                  <a:lnTo>
                    <a:pt x="1121624" y="1631994"/>
                  </a:lnTo>
                  <a:cubicBezTo>
                    <a:pt x="1130526" y="1631994"/>
                    <a:pt x="1138686" y="1634714"/>
                    <a:pt x="1146104" y="1640154"/>
                  </a:cubicBezTo>
                  <a:cubicBezTo>
                    <a:pt x="1153523" y="1645594"/>
                    <a:pt x="1159952" y="1654248"/>
                    <a:pt x="1165392" y="1666117"/>
                  </a:cubicBezTo>
                  <a:cubicBezTo>
                    <a:pt x="1170832" y="1677986"/>
                    <a:pt x="1174788" y="1693564"/>
                    <a:pt x="1177261" y="1712852"/>
                  </a:cubicBezTo>
                  <a:cubicBezTo>
                    <a:pt x="1179733" y="1732139"/>
                    <a:pt x="1180970" y="1756124"/>
                    <a:pt x="1180970" y="1784808"/>
                  </a:cubicBezTo>
                  <a:cubicBezTo>
                    <a:pt x="1180970" y="1812502"/>
                    <a:pt x="1179486" y="1835993"/>
                    <a:pt x="1176519" y="1855280"/>
                  </a:cubicBezTo>
                  <a:cubicBezTo>
                    <a:pt x="1173552" y="1874567"/>
                    <a:pt x="1169348" y="1889898"/>
                    <a:pt x="1163908" y="1901273"/>
                  </a:cubicBezTo>
                  <a:cubicBezTo>
                    <a:pt x="1158468" y="1912647"/>
                    <a:pt x="1152286" y="1920807"/>
                    <a:pt x="1145363" y="1925753"/>
                  </a:cubicBezTo>
                  <a:cubicBezTo>
                    <a:pt x="1138439" y="1930698"/>
                    <a:pt x="1130526" y="1933171"/>
                    <a:pt x="1121624" y="1933171"/>
                  </a:cubicBezTo>
                  <a:lnTo>
                    <a:pt x="62312" y="1933171"/>
                  </a:lnTo>
                  <a:cubicBezTo>
                    <a:pt x="54400" y="1933171"/>
                    <a:pt x="46982" y="1930698"/>
                    <a:pt x="40058" y="1925753"/>
                  </a:cubicBezTo>
                  <a:cubicBezTo>
                    <a:pt x="33134" y="1920807"/>
                    <a:pt x="26953" y="1912647"/>
                    <a:pt x="21513" y="1901273"/>
                  </a:cubicBezTo>
                  <a:cubicBezTo>
                    <a:pt x="16073" y="1889898"/>
                    <a:pt x="11869" y="1874567"/>
                    <a:pt x="8902" y="1855280"/>
                  </a:cubicBezTo>
                  <a:cubicBezTo>
                    <a:pt x="5934" y="1835993"/>
                    <a:pt x="4451" y="1812502"/>
                    <a:pt x="4451" y="1784808"/>
                  </a:cubicBezTo>
                  <a:cubicBezTo>
                    <a:pt x="4451" y="1756124"/>
                    <a:pt x="5687" y="1732139"/>
                    <a:pt x="8160" y="1712852"/>
                  </a:cubicBezTo>
                  <a:cubicBezTo>
                    <a:pt x="10633" y="1693564"/>
                    <a:pt x="14589" y="1677986"/>
                    <a:pt x="20029" y="1666117"/>
                  </a:cubicBezTo>
                  <a:cubicBezTo>
                    <a:pt x="25469" y="1654248"/>
                    <a:pt x="31651" y="1645594"/>
                    <a:pt x="38574" y="1640154"/>
                  </a:cubicBezTo>
                  <a:cubicBezTo>
                    <a:pt x="45498" y="1634714"/>
                    <a:pt x="53411" y="1631994"/>
                    <a:pt x="62312" y="1631994"/>
                  </a:cubicBezTo>
                  <a:lnTo>
                    <a:pt x="419867" y="1631994"/>
                  </a:lnTo>
                  <a:lnTo>
                    <a:pt x="419867" y="382777"/>
                  </a:lnTo>
                  <a:lnTo>
                    <a:pt x="111272" y="553394"/>
                  </a:lnTo>
                  <a:cubicBezTo>
                    <a:pt x="88523" y="564274"/>
                    <a:pt x="69978" y="570951"/>
                    <a:pt x="55636" y="573423"/>
                  </a:cubicBezTo>
                  <a:cubicBezTo>
                    <a:pt x="41294" y="575896"/>
                    <a:pt x="29920" y="572929"/>
                    <a:pt x="21513" y="564522"/>
                  </a:cubicBezTo>
                  <a:cubicBezTo>
                    <a:pt x="13105" y="556114"/>
                    <a:pt x="7418" y="541525"/>
                    <a:pt x="4451" y="520755"/>
                  </a:cubicBezTo>
                  <a:cubicBezTo>
                    <a:pt x="1484" y="499984"/>
                    <a:pt x="0" y="470806"/>
                    <a:pt x="0" y="433220"/>
                  </a:cubicBezTo>
                  <a:cubicBezTo>
                    <a:pt x="0" y="409482"/>
                    <a:pt x="494" y="389948"/>
                    <a:pt x="1484" y="374617"/>
                  </a:cubicBezTo>
                  <a:cubicBezTo>
                    <a:pt x="2473" y="359286"/>
                    <a:pt x="4945" y="346181"/>
                    <a:pt x="8902" y="335301"/>
                  </a:cubicBezTo>
                  <a:cubicBezTo>
                    <a:pt x="12858" y="324421"/>
                    <a:pt x="18298" y="315519"/>
                    <a:pt x="25222" y="308595"/>
                  </a:cubicBezTo>
                  <a:cubicBezTo>
                    <a:pt x="32145" y="301672"/>
                    <a:pt x="41542" y="294254"/>
                    <a:pt x="53411" y="286341"/>
                  </a:cubicBezTo>
                  <a:lnTo>
                    <a:pt x="465860" y="19288"/>
                  </a:lnTo>
                  <a:cubicBezTo>
                    <a:pt x="470805" y="15331"/>
                    <a:pt x="476987" y="12117"/>
                    <a:pt x="484405" y="9644"/>
                  </a:cubicBezTo>
                  <a:cubicBezTo>
                    <a:pt x="491823" y="7171"/>
                    <a:pt x="501467" y="5193"/>
                    <a:pt x="513336" y="3709"/>
                  </a:cubicBezTo>
                  <a:cubicBezTo>
                    <a:pt x="525205" y="2226"/>
                    <a:pt x="540783" y="1237"/>
                    <a:pt x="560070" y="742"/>
                  </a:cubicBezTo>
                  <a:cubicBezTo>
                    <a:pt x="579358" y="248"/>
                    <a:pt x="604332" y="0"/>
                    <a:pt x="63499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white"/>
                </a:solidFill>
                <a:effectLst/>
                <a:uLnTx/>
                <a:uFillTx/>
                <a:latin typeface="Verdana"/>
                <a:ea typeface="+mn-ea"/>
                <a:cs typeface="+mn-cs"/>
              </a:endParaRPr>
            </a:p>
          </p:txBody>
        </p:sp>
        <p:sp>
          <p:nvSpPr>
            <p:cNvPr id="82" name="Freeform 8">
              <a:extLst>
                <a:ext uri="{FF2B5EF4-FFF2-40B4-BE49-F238E27FC236}">
                  <a16:creationId xmlns:a16="http://schemas.microsoft.com/office/drawing/2014/main" id="{D8611AB2-8FF8-7EB3-2C93-D05F2E2CCE44}"/>
                </a:ext>
              </a:extLst>
            </p:cNvPr>
            <p:cNvSpPr/>
            <p:nvPr/>
          </p:nvSpPr>
          <p:spPr>
            <a:xfrm>
              <a:off x="2361975" y="4296064"/>
              <a:ext cx="2046419" cy="2398330"/>
            </a:xfrm>
            <a:custGeom>
              <a:avLst/>
              <a:gdLst>
                <a:gd name="connsiteX0" fmla="*/ 395986 w 2046419"/>
                <a:gd name="connsiteY0" fmla="*/ 352414 h 2398330"/>
                <a:gd name="connsiteX1" fmla="*/ 395987 w 2046419"/>
                <a:gd name="connsiteY1" fmla="*/ 879025 h 2398330"/>
                <a:gd name="connsiteX2" fmla="*/ 0 w 2046419"/>
                <a:gd name="connsiteY2" fmla="*/ 535520 h 2398330"/>
                <a:gd name="connsiteX3" fmla="*/ 12468 w 2046419"/>
                <a:gd name="connsiteY3" fmla="*/ 542690 h 2398330"/>
                <a:gd name="connsiteX4" fmla="*/ 31755 w 2046419"/>
                <a:gd name="connsiteY4" fmla="*/ 543060 h 2398330"/>
                <a:gd name="connsiteX5" fmla="*/ 87391 w 2046419"/>
                <a:gd name="connsiteY5" fmla="*/ 523032 h 2398330"/>
                <a:gd name="connsiteX6" fmla="*/ 780529 w 2046419"/>
                <a:gd name="connsiteY6" fmla="*/ 0 h 2398330"/>
                <a:gd name="connsiteX7" fmla="*/ 2046419 w 2046419"/>
                <a:gd name="connsiteY7" fmla="*/ 1098117 h 2398330"/>
                <a:gd name="connsiteX8" fmla="*/ 2046419 w 2046419"/>
                <a:gd name="connsiteY8" fmla="*/ 2398330 h 2398330"/>
                <a:gd name="connsiteX9" fmla="*/ 599559 w 2046419"/>
                <a:gd name="connsiteY9" fmla="*/ 2398330 h 2398330"/>
                <a:gd name="connsiteX10" fmla="*/ 22023 w 2046419"/>
                <a:gd name="connsiteY10" fmla="*/ 1897337 h 2398330"/>
                <a:gd name="connsiteX11" fmla="*/ 38430 w 2046419"/>
                <a:gd name="connsiteY11" fmla="*/ 1902806 h 2398330"/>
                <a:gd name="connsiteX12" fmla="*/ 1097742 w 2046419"/>
                <a:gd name="connsiteY12" fmla="*/ 1902806 h 2398330"/>
                <a:gd name="connsiteX13" fmla="*/ 1121481 w 2046419"/>
                <a:gd name="connsiteY13" fmla="*/ 1895388 h 2398330"/>
                <a:gd name="connsiteX14" fmla="*/ 1140026 w 2046419"/>
                <a:gd name="connsiteY14" fmla="*/ 1870908 h 2398330"/>
                <a:gd name="connsiteX15" fmla="*/ 1152637 w 2046419"/>
                <a:gd name="connsiteY15" fmla="*/ 1824915 h 2398330"/>
                <a:gd name="connsiteX16" fmla="*/ 1157088 w 2046419"/>
                <a:gd name="connsiteY16" fmla="*/ 1754443 h 2398330"/>
                <a:gd name="connsiteX17" fmla="*/ 1153379 w 2046419"/>
                <a:gd name="connsiteY17" fmla="*/ 1682487 h 2398330"/>
                <a:gd name="connsiteX18" fmla="*/ 1141510 w 2046419"/>
                <a:gd name="connsiteY18" fmla="*/ 1635752 h 2398330"/>
                <a:gd name="connsiteX19" fmla="*/ 1122222 w 2046419"/>
                <a:gd name="connsiteY19" fmla="*/ 1609789 h 2398330"/>
                <a:gd name="connsiteX20" fmla="*/ 1097742 w 2046419"/>
                <a:gd name="connsiteY20" fmla="*/ 1601629 h 2398330"/>
                <a:gd name="connsiteX21" fmla="*/ 784697 w 2046419"/>
                <a:gd name="connsiteY21" fmla="*/ 1601629 h 2398330"/>
                <a:gd name="connsiteX22" fmla="*/ 784697 w 2046419"/>
                <a:gd name="connsiteY22" fmla="*/ 15628 h 2398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046419" h="2398330">
                  <a:moveTo>
                    <a:pt x="395986" y="352414"/>
                  </a:moveTo>
                  <a:lnTo>
                    <a:pt x="395987" y="879025"/>
                  </a:lnTo>
                  <a:lnTo>
                    <a:pt x="0" y="535520"/>
                  </a:lnTo>
                  <a:lnTo>
                    <a:pt x="12468" y="542690"/>
                  </a:lnTo>
                  <a:cubicBezTo>
                    <a:pt x="18154" y="544173"/>
                    <a:pt x="24585" y="544297"/>
                    <a:pt x="31755" y="543060"/>
                  </a:cubicBezTo>
                  <a:cubicBezTo>
                    <a:pt x="46097" y="540588"/>
                    <a:pt x="64642" y="533911"/>
                    <a:pt x="87391" y="523032"/>
                  </a:cubicBezTo>
                  <a:close/>
                  <a:moveTo>
                    <a:pt x="780529" y="0"/>
                  </a:moveTo>
                  <a:lnTo>
                    <a:pt x="2046419" y="1098117"/>
                  </a:lnTo>
                  <a:lnTo>
                    <a:pt x="2046419" y="2398330"/>
                  </a:lnTo>
                  <a:lnTo>
                    <a:pt x="599559" y="2398330"/>
                  </a:lnTo>
                  <a:lnTo>
                    <a:pt x="22023" y="1897337"/>
                  </a:lnTo>
                  <a:lnTo>
                    <a:pt x="38430" y="1902806"/>
                  </a:lnTo>
                  <a:lnTo>
                    <a:pt x="1097742" y="1902806"/>
                  </a:lnTo>
                  <a:cubicBezTo>
                    <a:pt x="1106644" y="1902806"/>
                    <a:pt x="1114557" y="1900333"/>
                    <a:pt x="1121481" y="1895388"/>
                  </a:cubicBezTo>
                  <a:cubicBezTo>
                    <a:pt x="1128404" y="1890442"/>
                    <a:pt x="1134586" y="1882282"/>
                    <a:pt x="1140026" y="1870908"/>
                  </a:cubicBezTo>
                  <a:cubicBezTo>
                    <a:pt x="1145466" y="1859533"/>
                    <a:pt x="1149670" y="1844202"/>
                    <a:pt x="1152637" y="1824915"/>
                  </a:cubicBezTo>
                  <a:cubicBezTo>
                    <a:pt x="1155604" y="1805628"/>
                    <a:pt x="1157088" y="1782137"/>
                    <a:pt x="1157088" y="1754443"/>
                  </a:cubicBezTo>
                  <a:cubicBezTo>
                    <a:pt x="1157088" y="1725759"/>
                    <a:pt x="1155851" y="1701774"/>
                    <a:pt x="1153379" y="1682487"/>
                  </a:cubicBezTo>
                  <a:cubicBezTo>
                    <a:pt x="1150906" y="1663199"/>
                    <a:pt x="1146950" y="1647621"/>
                    <a:pt x="1141510" y="1635752"/>
                  </a:cubicBezTo>
                  <a:cubicBezTo>
                    <a:pt x="1136070" y="1623883"/>
                    <a:pt x="1129641" y="1615229"/>
                    <a:pt x="1122222" y="1609789"/>
                  </a:cubicBezTo>
                  <a:cubicBezTo>
                    <a:pt x="1114804" y="1604349"/>
                    <a:pt x="1106644" y="1601629"/>
                    <a:pt x="1097742" y="1601629"/>
                  </a:cubicBezTo>
                  <a:lnTo>
                    <a:pt x="784697" y="1601629"/>
                  </a:lnTo>
                  <a:lnTo>
                    <a:pt x="784697" y="15628"/>
                  </a:lnTo>
                  <a:close/>
                </a:path>
              </a:pathLst>
            </a:custGeom>
            <a:solidFill>
              <a:srgbClr val="0000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white"/>
                </a:solidFill>
                <a:effectLst/>
                <a:uLnTx/>
                <a:uFillTx/>
                <a:latin typeface="Verdana"/>
                <a:ea typeface="+mn-ea"/>
                <a:cs typeface="+mn-cs"/>
              </a:endParaRPr>
            </a:p>
          </p:txBody>
        </p:sp>
      </p:grpSp>
      <p:sp>
        <p:nvSpPr>
          <p:cNvPr id="83" name="Rectangle 82">
            <a:extLst>
              <a:ext uri="{FF2B5EF4-FFF2-40B4-BE49-F238E27FC236}">
                <a16:creationId xmlns:a16="http://schemas.microsoft.com/office/drawing/2014/main" id="{B28D76A2-1828-6FF9-D2D6-5D56C9842AAB}"/>
              </a:ext>
            </a:extLst>
          </p:cNvPr>
          <p:cNvSpPr/>
          <p:nvPr/>
        </p:nvSpPr>
        <p:spPr>
          <a:xfrm>
            <a:off x="8016040" y="2439820"/>
            <a:ext cx="356616" cy="338328"/>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white"/>
              </a:solidFill>
              <a:effectLst/>
              <a:uLnTx/>
              <a:uFillTx/>
              <a:latin typeface="Verdana"/>
              <a:ea typeface="+mn-ea"/>
              <a:cs typeface="+mn-cs"/>
            </a:endParaRPr>
          </a:p>
        </p:txBody>
      </p:sp>
      <p:sp>
        <p:nvSpPr>
          <p:cNvPr id="84" name="Freeform 11">
            <a:extLst>
              <a:ext uri="{FF2B5EF4-FFF2-40B4-BE49-F238E27FC236}">
                <a16:creationId xmlns:a16="http://schemas.microsoft.com/office/drawing/2014/main" id="{3B51D360-B367-A67D-70C7-D3F5918B4120}"/>
              </a:ext>
            </a:extLst>
          </p:cNvPr>
          <p:cNvSpPr/>
          <p:nvPr/>
        </p:nvSpPr>
        <p:spPr>
          <a:xfrm>
            <a:off x="8132841" y="2495007"/>
            <a:ext cx="132443" cy="218494"/>
          </a:xfrm>
          <a:custGeom>
            <a:avLst/>
            <a:gdLst/>
            <a:ahLst/>
            <a:cxnLst/>
            <a:rect l="l" t="t" r="r" b="b"/>
            <a:pathLst>
              <a:path w="1287791" h="1953942">
                <a:moveTo>
                  <a:pt x="615707" y="0"/>
                </a:moveTo>
                <a:cubicBezTo>
                  <a:pt x="715605" y="0"/>
                  <a:pt x="802891" y="12611"/>
                  <a:pt x="877568" y="37833"/>
                </a:cubicBezTo>
                <a:cubicBezTo>
                  <a:pt x="952244" y="63055"/>
                  <a:pt x="1014309" y="98167"/>
                  <a:pt x="1063763" y="143171"/>
                </a:cubicBezTo>
                <a:cubicBezTo>
                  <a:pt x="1113217" y="188174"/>
                  <a:pt x="1150061" y="241585"/>
                  <a:pt x="1174294" y="303403"/>
                </a:cubicBezTo>
                <a:cubicBezTo>
                  <a:pt x="1198526" y="365221"/>
                  <a:pt x="1210642" y="431737"/>
                  <a:pt x="1210642" y="502951"/>
                </a:cubicBezTo>
                <a:cubicBezTo>
                  <a:pt x="1210642" y="565264"/>
                  <a:pt x="1204708" y="626587"/>
                  <a:pt x="1192839" y="686921"/>
                </a:cubicBezTo>
                <a:cubicBezTo>
                  <a:pt x="1180970" y="747256"/>
                  <a:pt x="1156243" y="812288"/>
                  <a:pt x="1118657" y="882019"/>
                </a:cubicBezTo>
                <a:cubicBezTo>
                  <a:pt x="1081072" y="951749"/>
                  <a:pt x="1028156" y="1028898"/>
                  <a:pt x="959909" y="1113465"/>
                </a:cubicBezTo>
                <a:cubicBezTo>
                  <a:pt x="891662" y="1198032"/>
                  <a:pt x="801161" y="1296199"/>
                  <a:pt x="688405" y="1407966"/>
                </a:cubicBezTo>
                <a:lnTo>
                  <a:pt x="464376" y="1637928"/>
                </a:lnTo>
                <a:lnTo>
                  <a:pt x="1221028" y="1637928"/>
                </a:lnTo>
                <a:cubicBezTo>
                  <a:pt x="1230919" y="1637928"/>
                  <a:pt x="1240068" y="1640896"/>
                  <a:pt x="1248475" y="1646830"/>
                </a:cubicBezTo>
                <a:cubicBezTo>
                  <a:pt x="1256882" y="1652765"/>
                  <a:pt x="1264053" y="1661914"/>
                  <a:pt x="1269988" y="1674277"/>
                </a:cubicBezTo>
                <a:cubicBezTo>
                  <a:pt x="1275922" y="1686641"/>
                  <a:pt x="1280373" y="1702961"/>
                  <a:pt x="1283340" y="1723237"/>
                </a:cubicBezTo>
                <a:cubicBezTo>
                  <a:pt x="1286308" y="1743513"/>
                  <a:pt x="1287791" y="1767499"/>
                  <a:pt x="1287791" y="1795193"/>
                </a:cubicBezTo>
                <a:cubicBezTo>
                  <a:pt x="1287791" y="1823877"/>
                  <a:pt x="1286555" y="1848357"/>
                  <a:pt x="1284082" y="1868633"/>
                </a:cubicBezTo>
                <a:cubicBezTo>
                  <a:pt x="1281609" y="1888909"/>
                  <a:pt x="1277900" y="1905476"/>
                  <a:pt x="1272955" y="1918335"/>
                </a:cubicBezTo>
                <a:cubicBezTo>
                  <a:pt x="1268010" y="1931193"/>
                  <a:pt x="1261580" y="1940342"/>
                  <a:pt x="1253668" y="1945782"/>
                </a:cubicBezTo>
                <a:cubicBezTo>
                  <a:pt x="1245755" y="1951222"/>
                  <a:pt x="1236853" y="1953942"/>
                  <a:pt x="1226962" y="1953942"/>
                </a:cubicBezTo>
                <a:lnTo>
                  <a:pt x="123141" y="1953942"/>
                </a:lnTo>
                <a:cubicBezTo>
                  <a:pt x="101382" y="1953942"/>
                  <a:pt x="82589" y="1951963"/>
                  <a:pt x="66764" y="1948007"/>
                </a:cubicBezTo>
                <a:cubicBezTo>
                  <a:pt x="50938" y="1944051"/>
                  <a:pt x="38080" y="1936385"/>
                  <a:pt x="28189" y="1925011"/>
                </a:cubicBezTo>
                <a:cubicBezTo>
                  <a:pt x="18298" y="1913636"/>
                  <a:pt x="11127" y="1897069"/>
                  <a:pt x="6676" y="1875309"/>
                </a:cubicBezTo>
                <a:cubicBezTo>
                  <a:pt x="2226" y="1853549"/>
                  <a:pt x="0" y="1825360"/>
                  <a:pt x="0" y="1790742"/>
                </a:cubicBezTo>
                <a:cubicBezTo>
                  <a:pt x="0" y="1758103"/>
                  <a:pt x="1484" y="1730161"/>
                  <a:pt x="4451" y="1706917"/>
                </a:cubicBezTo>
                <a:cubicBezTo>
                  <a:pt x="7418" y="1683674"/>
                  <a:pt x="12858" y="1662903"/>
                  <a:pt x="20771" y="1644605"/>
                </a:cubicBezTo>
                <a:cubicBezTo>
                  <a:pt x="28684" y="1626307"/>
                  <a:pt x="38822" y="1608503"/>
                  <a:pt x="51185" y="1591194"/>
                </a:cubicBezTo>
                <a:cubicBezTo>
                  <a:pt x="63549" y="1573885"/>
                  <a:pt x="79622" y="1554845"/>
                  <a:pt x="99403" y="1534074"/>
                </a:cubicBezTo>
                <a:lnTo>
                  <a:pt x="431737" y="1178003"/>
                </a:lnTo>
                <a:cubicBezTo>
                  <a:pt x="498005" y="1108767"/>
                  <a:pt x="551416" y="1045713"/>
                  <a:pt x="591969" y="988840"/>
                </a:cubicBezTo>
                <a:cubicBezTo>
                  <a:pt x="632521" y="931968"/>
                  <a:pt x="664172" y="880041"/>
                  <a:pt x="686921" y="833059"/>
                </a:cubicBezTo>
                <a:cubicBezTo>
                  <a:pt x="709670" y="786077"/>
                  <a:pt x="725248" y="742805"/>
                  <a:pt x="733655" y="703241"/>
                </a:cubicBezTo>
                <a:cubicBezTo>
                  <a:pt x="742063" y="663678"/>
                  <a:pt x="746266" y="626092"/>
                  <a:pt x="746266" y="590485"/>
                </a:cubicBezTo>
                <a:cubicBezTo>
                  <a:pt x="746266" y="557845"/>
                  <a:pt x="741074" y="526936"/>
                  <a:pt x="730688" y="497758"/>
                </a:cubicBezTo>
                <a:cubicBezTo>
                  <a:pt x="720303" y="468580"/>
                  <a:pt x="704972" y="443111"/>
                  <a:pt x="684696" y="421351"/>
                </a:cubicBezTo>
                <a:cubicBezTo>
                  <a:pt x="664419" y="399591"/>
                  <a:pt x="638950" y="382530"/>
                  <a:pt x="608289" y="370166"/>
                </a:cubicBezTo>
                <a:cubicBezTo>
                  <a:pt x="577627" y="357802"/>
                  <a:pt x="541525" y="351621"/>
                  <a:pt x="499984" y="351621"/>
                </a:cubicBezTo>
                <a:cubicBezTo>
                  <a:pt x="441627" y="351621"/>
                  <a:pt x="389948" y="359039"/>
                  <a:pt x="344944" y="373875"/>
                </a:cubicBezTo>
                <a:cubicBezTo>
                  <a:pt x="299941" y="388711"/>
                  <a:pt x="260377" y="405279"/>
                  <a:pt x="226254" y="423577"/>
                </a:cubicBezTo>
                <a:cubicBezTo>
                  <a:pt x="192130" y="441875"/>
                  <a:pt x="163694" y="458689"/>
                  <a:pt x="140945" y="474020"/>
                </a:cubicBezTo>
                <a:cubicBezTo>
                  <a:pt x="118196" y="489351"/>
                  <a:pt x="100392" y="497017"/>
                  <a:pt x="87534" y="497017"/>
                </a:cubicBezTo>
                <a:cubicBezTo>
                  <a:pt x="78633" y="497017"/>
                  <a:pt x="70967" y="494049"/>
                  <a:pt x="64538" y="488115"/>
                </a:cubicBezTo>
                <a:cubicBezTo>
                  <a:pt x="58109" y="482180"/>
                  <a:pt x="52916" y="472289"/>
                  <a:pt x="48960" y="458442"/>
                </a:cubicBezTo>
                <a:cubicBezTo>
                  <a:pt x="45004" y="444595"/>
                  <a:pt x="41789" y="426049"/>
                  <a:pt x="39316" y="402806"/>
                </a:cubicBezTo>
                <a:cubicBezTo>
                  <a:pt x="36844" y="379562"/>
                  <a:pt x="35607" y="351126"/>
                  <a:pt x="35607" y="317497"/>
                </a:cubicBezTo>
                <a:cubicBezTo>
                  <a:pt x="35607" y="294748"/>
                  <a:pt x="36349" y="275708"/>
                  <a:pt x="37833" y="260377"/>
                </a:cubicBezTo>
                <a:cubicBezTo>
                  <a:pt x="39316" y="245047"/>
                  <a:pt x="41542" y="231694"/>
                  <a:pt x="44509" y="220319"/>
                </a:cubicBezTo>
                <a:cubicBezTo>
                  <a:pt x="47476" y="208945"/>
                  <a:pt x="51433" y="199054"/>
                  <a:pt x="56378" y="190647"/>
                </a:cubicBezTo>
                <a:cubicBezTo>
                  <a:pt x="61324" y="182240"/>
                  <a:pt x="69978" y="172101"/>
                  <a:pt x="82342" y="160232"/>
                </a:cubicBezTo>
                <a:cubicBezTo>
                  <a:pt x="94705" y="148363"/>
                  <a:pt x="117454" y="133280"/>
                  <a:pt x="150589" y="114982"/>
                </a:cubicBezTo>
                <a:cubicBezTo>
                  <a:pt x="183723" y="96684"/>
                  <a:pt x="224523" y="78880"/>
                  <a:pt x="272988" y="61571"/>
                </a:cubicBezTo>
                <a:cubicBezTo>
                  <a:pt x="321453" y="44262"/>
                  <a:pt x="374864" y="29673"/>
                  <a:pt x="433220" y="17804"/>
                </a:cubicBezTo>
                <a:cubicBezTo>
                  <a:pt x="491576" y="5935"/>
                  <a:pt x="552405" y="0"/>
                  <a:pt x="615707"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white"/>
              </a:solidFill>
              <a:effectLst/>
              <a:uLnTx/>
              <a:uFillTx/>
              <a:latin typeface="Verdana"/>
              <a:ea typeface="+mn-ea"/>
              <a:cs typeface="+mn-cs"/>
            </a:endParaRPr>
          </a:p>
        </p:txBody>
      </p:sp>
      <p:sp>
        <p:nvSpPr>
          <p:cNvPr id="85" name="TextBox 84">
            <a:extLst>
              <a:ext uri="{FF2B5EF4-FFF2-40B4-BE49-F238E27FC236}">
                <a16:creationId xmlns:a16="http://schemas.microsoft.com/office/drawing/2014/main" id="{424D3A6A-7BF9-971A-3610-EC0960774E80}"/>
              </a:ext>
            </a:extLst>
          </p:cNvPr>
          <p:cNvSpPr txBox="1"/>
          <p:nvPr/>
        </p:nvSpPr>
        <p:spPr>
          <a:xfrm>
            <a:off x="8109620" y="2520795"/>
            <a:ext cx="217587" cy="257353"/>
          </a:xfrm>
          <a:custGeom>
            <a:avLst/>
            <a:gdLst>
              <a:gd name="connsiteX0" fmla="*/ 456353 w 2115685"/>
              <a:gd name="connsiteY0" fmla="*/ 203601 h 2301447"/>
              <a:gd name="connsiteX1" fmla="*/ 564658 w 2115685"/>
              <a:gd name="connsiteY1" fmla="*/ 222146 h 2301447"/>
              <a:gd name="connsiteX2" fmla="*/ 641065 w 2115685"/>
              <a:gd name="connsiteY2" fmla="*/ 273331 h 2301447"/>
              <a:gd name="connsiteX3" fmla="*/ 687057 w 2115685"/>
              <a:gd name="connsiteY3" fmla="*/ 349738 h 2301447"/>
              <a:gd name="connsiteX4" fmla="*/ 702635 w 2115685"/>
              <a:gd name="connsiteY4" fmla="*/ 442465 h 2301447"/>
              <a:gd name="connsiteX5" fmla="*/ 690024 w 2115685"/>
              <a:gd name="connsiteY5" fmla="*/ 555221 h 2301447"/>
              <a:gd name="connsiteX6" fmla="*/ 643290 w 2115685"/>
              <a:gd name="connsiteY6" fmla="*/ 685039 h 2301447"/>
              <a:gd name="connsiteX7" fmla="*/ 602490 w 2115685"/>
              <a:gd name="connsiteY7" fmla="*/ 759221 h 2301447"/>
              <a:gd name="connsiteX8" fmla="*/ 567532 w 2115685"/>
              <a:gd name="connsiteY8" fmla="*/ 811898 h 2301447"/>
              <a:gd name="connsiteX9" fmla="*/ 25852 w 2115685"/>
              <a:gd name="connsiteY9" fmla="*/ 342009 h 2301447"/>
              <a:gd name="connsiteX10" fmla="*/ 43903 w 2115685"/>
              <a:gd name="connsiteY10" fmla="*/ 348997 h 2301447"/>
              <a:gd name="connsiteX11" fmla="*/ 97314 w 2115685"/>
              <a:gd name="connsiteY11" fmla="*/ 326000 h 2301447"/>
              <a:gd name="connsiteX12" fmla="*/ 182623 w 2115685"/>
              <a:gd name="connsiteY12" fmla="*/ 275557 h 2301447"/>
              <a:gd name="connsiteX13" fmla="*/ 301313 w 2115685"/>
              <a:gd name="connsiteY13" fmla="*/ 225855 h 2301447"/>
              <a:gd name="connsiteX14" fmla="*/ 456353 w 2115685"/>
              <a:gd name="connsiteY14" fmla="*/ 203601 h 2301447"/>
              <a:gd name="connsiteX15" fmla="*/ 1024383 w 2115685"/>
              <a:gd name="connsiteY15" fmla="*/ 0 h 2301447"/>
              <a:gd name="connsiteX16" fmla="*/ 2115685 w 2115685"/>
              <a:gd name="connsiteY16" fmla="*/ 946668 h 2301447"/>
              <a:gd name="connsiteX17" fmla="*/ 2115685 w 2115685"/>
              <a:gd name="connsiteY17" fmla="*/ 2301447 h 2301447"/>
              <a:gd name="connsiteX18" fmla="*/ 593970 w 2115685"/>
              <a:gd name="connsiteY18" fmla="*/ 2301447 h 2301447"/>
              <a:gd name="connsiteX19" fmla="*/ 0 w 2115685"/>
              <a:gd name="connsiteY19" fmla="*/ 1786198 h 2301447"/>
              <a:gd name="connsiteX20" fmla="*/ 23133 w 2115685"/>
              <a:gd name="connsiteY20" fmla="*/ 1799988 h 2301447"/>
              <a:gd name="connsiteX21" fmla="*/ 79510 w 2115685"/>
              <a:gd name="connsiteY21" fmla="*/ 1805923 h 2301447"/>
              <a:gd name="connsiteX22" fmla="*/ 1183331 w 2115685"/>
              <a:gd name="connsiteY22" fmla="*/ 1805923 h 2301447"/>
              <a:gd name="connsiteX23" fmla="*/ 1210037 w 2115685"/>
              <a:gd name="connsiteY23" fmla="*/ 1797763 h 2301447"/>
              <a:gd name="connsiteX24" fmla="*/ 1229324 w 2115685"/>
              <a:gd name="connsiteY24" fmla="*/ 1770316 h 2301447"/>
              <a:gd name="connsiteX25" fmla="*/ 1240451 w 2115685"/>
              <a:gd name="connsiteY25" fmla="*/ 1720614 h 2301447"/>
              <a:gd name="connsiteX26" fmla="*/ 1244160 w 2115685"/>
              <a:gd name="connsiteY26" fmla="*/ 1647174 h 2301447"/>
              <a:gd name="connsiteX27" fmla="*/ 1239709 w 2115685"/>
              <a:gd name="connsiteY27" fmla="*/ 1575218 h 2301447"/>
              <a:gd name="connsiteX28" fmla="*/ 1226357 w 2115685"/>
              <a:gd name="connsiteY28" fmla="*/ 1526258 h 2301447"/>
              <a:gd name="connsiteX29" fmla="*/ 1204844 w 2115685"/>
              <a:gd name="connsiteY29" fmla="*/ 1498811 h 2301447"/>
              <a:gd name="connsiteX30" fmla="*/ 1177397 w 2115685"/>
              <a:gd name="connsiteY30" fmla="*/ 1489909 h 2301447"/>
              <a:gd name="connsiteX31" fmla="*/ 420745 w 2115685"/>
              <a:gd name="connsiteY31" fmla="*/ 1489909 h 2301447"/>
              <a:gd name="connsiteX32" fmla="*/ 644774 w 2115685"/>
              <a:gd name="connsiteY32" fmla="*/ 1259947 h 2301447"/>
              <a:gd name="connsiteX33" fmla="*/ 916278 w 2115685"/>
              <a:gd name="connsiteY33" fmla="*/ 965446 h 2301447"/>
              <a:gd name="connsiteX34" fmla="*/ 1075026 w 2115685"/>
              <a:gd name="connsiteY34" fmla="*/ 734000 h 2301447"/>
              <a:gd name="connsiteX35" fmla="*/ 1149208 w 2115685"/>
              <a:gd name="connsiteY35" fmla="*/ 538902 h 2301447"/>
              <a:gd name="connsiteX36" fmla="*/ 1167011 w 2115685"/>
              <a:gd name="connsiteY36" fmla="*/ 354932 h 2301447"/>
              <a:gd name="connsiteX37" fmla="*/ 1130663 w 2115685"/>
              <a:gd name="connsiteY37" fmla="*/ 155384 h 2301447"/>
              <a:gd name="connsiteX38" fmla="*/ 1084855 w 2115685"/>
              <a:gd name="connsiteY38" fmla="*/ 68962 h 2301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115685" h="2301447">
                <a:moveTo>
                  <a:pt x="456353" y="203601"/>
                </a:moveTo>
                <a:cubicBezTo>
                  <a:pt x="497894" y="203601"/>
                  <a:pt x="533996" y="209782"/>
                  <a:pt x="564658" y="222146"/>
                </a:cubicBezTo>
                <a:cubicBezTo>
                  <a:pt x="595319" y="234510"/>
                  <a:pt x="620788" y="251571"/>
                  <a:pt x="641065" y="273331"/>
                </a:cubicBezTo>
                <a:cubicBezTo>
                  <a:pt x="661341" y="295091"/>
                  <a:pt x="676672" y="320560"/>
                  <a:pt x="687057" y="349738"/>
                </a:cubicBezTo>
                <a:cubicBezTo>
                  <a:pt x="697443" y="378916"/>
                  <a:pt x="702635" y="409825"/>
                  <a:pt x="702635" y="442465"/>
                </a:cubicBezTo>
                <a:cubicBezTo>
                  <a:pt x="702635" y="478072"/>
                  <a:pt x="698432" y="515658"/>
                  <a:pt x="690024" y="555221"/>
                </a:cubicBezTo>
                <a:cubicBezTo>
                  <a:pt x="681617" y="594785"/>
                  <a:pt x="666039" y="638057"/>
                  <a:pt x="643290" y="685039"/>
                </a:cubicBezTo>
                <a:cubicBezTo>
                  <a:pt x="631916" y="708530"/>
                  <a:pt x="618316" y="733257"/>
                  <a:pt x="602490" y="759221"/>
                </a:cubicBezTo>
                <a:lnTo>
                  <a:pt x="567532" y="811898"/>
                </a:lnTo>
                <a:lnTo>
                  <a:pt x="25852" y="342009"/>
                </a:lnTo>
                <a:lnTo>
                  <a:pt x="43903" y="348997"/>
                </a:lnTo>
                <a:cubicBezTo>
                  <a:pt x="56761" y="348997"/>
                  <a:pt x="74565" y="341331"/>
                  <a:pt x="97314" y="326000"/>
                </a:cubicBezTo>
                <a:cubicBezTo>
                  <a:pt x="120063" y="310669"/>
                  <a:pt x="148499" y="293855"/>
                  <a:pt x="182623" y="275557"/>
                </a:cubicBezTo>
                <a:cubicBezTo>
                  <a:pt x="216746" y="257259"/>
                  <a:pt x="256310" y="240691"/>
                  <a:pt x="301313" y="225855"/>
                </a:cubicBezTo>
                <a:cubicBezTo>
                  <a:pt x="346317" y="211019"/>
                  <a:pt x="397996" y="203601"/>
                  <a:pt x="456353" y="203601"/>
                </a:cubicBezTo>
                <a:close/>
                <a:moveTo>
                  <a:pt x="1024383" y="0"/>
                </a:moveTo>
                <a:lnTo>
                  <a:pt x="2115685" y="946668"/>
                </a:lnTo>
                <a:lnTo>
                  <a:pt x="2115685" y="2301447"/>
                </a:lnTo>
                <a:lnTo>
                  <a:pt x="593970" y="2301447"/>
                </a:lnTo>
                <a:lnTo>
                  <a:pt x="0" y="1786198"/>
                </a:lnTo>
                <a:lnTo>
                  <a:pt x="23133" y="1799988"/>
                </a:lnTo>
                <a:cubicBezTo>
                  <a:pt x="38958" y="1803944"/>
                  <a:pt x="57751" y="1805923"/>
                  <a:pt x="79510" y="1805923"/>
                </a:cubicBezTo>
                <a:lnTo>
                  <a:pt x="1183331" y="1805923"/>
                </a:lnTo>
                <a:cubicBezTo>
                  <a:pt x="1193222" y="1805923"/>
                  <a:pt x="1202124" y="1803203"/>
                  <a:pt x="1210037" y="1797763"/>
                </a:cubicBezTo>
                <a:cubicBezTo>
                  <a:pt x="1217949" y="1792323"/>
                  <a:pt x="1224379" y="1783174"/>
                  <a:pt x="1229324" y="1770316"/>
                </a:cubicBezTo>
                <a:cubicBezTo>
                  <a:pt x="1234269" y="1757457"/>
                  <a:pt x="1237978" y="1740890"/>
                  <a:pt x="1240451" y="1720614"/>
                </a:cubicBezTo>
                <a:cubicBezTo>
                  <a:pt x="1242924" y="1700338"/>
                  <a:pt x="1244160" y="1675858"/>
                  <a:pt x="1244160" y="1647174"/>
                </a:cubicBezTo>
                <a:cubicBezTo>
                  <a:pt x="1244160" y="1619480"/>
                  <a:pt x="1242677" y="1595494"/>
                  <a:pt x="1239709" y="1575218"/>
                </a:cubicBezTo>
                <a:cubicBezTo>
                  <a:pt x="1236742" y="1554942"/>
                  <a:pt x="1232291" y="1538622"/>
                  <a:pt x="1226357" y="1526258"/>
                </a:cubicBezTo>
                <a:cubicBezTo>
                  <a:pt x="1220422" y="1513895"/>
                  <a:pt x="1213251" y="1504746"/>
                  <a:pt x="1204844" y="1498811"/>
                </a:cubicBezTo>
                <a:cubicBezTo>
                  <a:pt x="1196437" y="1492877"/>
                  <a:pt x="1187288" y="1489909"/>
                  <a:pt x="1177397" y="1489909"/>
                </a:cubicBezTo>
                <a:lnTo>
                  <a:pt x="420745" y="1489909"/>
                </a:lnTo>
                <a:lnTo>
                  <a:pt x="644774" y="1259947"/>
                </a:lnTo>
                <a:cubicBezTo>
                  <a:pt x="757530" y="1148180"/>
                  <a:pt x="848031" y="1050013"/>
                  <a:pt x="916278" y="965446"/>
                </a:cubicBezTo>
                <a:cubicBezTo>
                  <a:pt x="984525" y="880879"/>
                  <a:pt x="1037441" y="803730"/>
                  <a:pt x="1075026" y="734000"/>
                </a:cubicBezTo>
                <a:cubicBezTo>
                  <a:pt x="1112612" y="664269"/>
                  <a:pt x="1137339" y="599237"/>
                  <a:pt x="1149208" y="538902"/>
                </a:cubicBezTo>
                <a:cubicBezTo>
                  <a:pt x="1161077" y="478568"/>
                  <a:pt x="1167011" y="417245"/>
                  <a:pt x="1167011" y="354932"/>
                </a:cubicBezTo>
                <a:cubicBezTo>
                  <a:pt x="1167011" y="283718"/>
                  <a:pt x="1154895" y="217202"/>
                  <a:pt x="1130663" y="155384"/>
                </a:cubicBezTo>
                <a:cubicBezTo>
                  <a:pt x="1118547" y="124475"/>
                  <a:pt x="1103277" y="95668"/>
                  <a:pt x="1084855" y="68962"/>
                </a:cubicBezTo>
                <a:close/>
              </a:path>
            </a:pathLst>
          </a:custGeom>
          <a:solidFill>
            <a:srgbClr val="0000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white"/>
              </a:solidFill>
              <a:effectLst/>
              <a:uLnTx/>
              <a:uFillTx/>
              <a:latin typeface="Verdana"/>
              <a:ea typeface="+mn-ea"/>
              <a:cs typeface="+mn-cs"/>
            </a:endParaRPr>
          </a:p>
        </p:txBody>
      </p:sp>
      <p:sp>
        <p:nvSpPr>
          <p:cNvPr id="86" name="TextBox 85">
            <a:extLst>
              <a:ext uri="{FF2B5EF4-FFF2-40B4-BE49-F238E27FC236}">
                <a16:creationId xmlns:a16="http://schemas.microsoft.com/office/drawing/2014/main" id="{4991C5E7-979B-119D-EBAB-AF5E37178516}"/>
              </a:ext>
            </a:extLst>
          </p:cNvPr>
          <p:cNvSpPr txBox="1"/>
          <p:nvPr/>
        </p:nvSpPr>
        <p:spPr>
          <a:xfrm>
            <a:off x="8375069" y="2356778"/>
            <a:ext cx="2006852"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Verdana"/>
                <a:ea typeface="+mn-ea"/>
                <a:cs typeface="+mn-cs"/>
              </a:rPr>
              <a:t>Continuous Improvement based on Customer Insights (proactive &amp; predictive)</a:t>
            </a:r>
            <a:endParaRPr kumimoji="0" lang="en-US" sz="1000" b="1" i="0" u="none" strike="noStrike" kern="1200" cap="none" spc="0" normalizeH="0" baseline="0" noProof="0">
              <a:ln>
                <a:noFill/>
              </a:ln>
              <a:solidFill>
                <a:srgbClr val="000000"/>
              </a:solidFill>
              <a:effectLst/>
              <a:uLnTx/>
              <a:uFillTx/>
              <a:latin typeface="Verdana"/>
              <a:ea typeface="+mn-ea"/>
              <a:cs typeface="+mn-cs"/>
            </a:endParaRPr>
          </a:p>
        </p:txBody>
      </p:sp>
      <p:pic>
        <p:nvPicPr>
          <p:cNvPr id="87" name="Picture 86" descr="D:\Users\sbhate\Desktop\Picture1.png">
            <a:extLst>
              <a:ext uri="{FF2B5EF4-FFF2-40B4-BE49-F238E27FC236}">
                <a16:creationId xmlns:a16="http://schemas.microsoft.com/office/drawing/2014/main" id="{305C1580-8041-C71E-956D-EDF1263CE11F}"/>
              </a:ext>
            </a:extLst>
          </p:cNvPr>
          <p:cNvPicPr>
            <a:picLocks noChangeAspect="1" noChangeArrowheads="1"/>
          </p:cNvPicPr>
          <p:nvPr/>
        </p:nvPicPr>
        <p:blipFill rotWithShape="1">
          <a:blip r:embed="rId4" cstate="print"/>
          <a:srcRect l="16518" b="-2197"/>
          <a:stretch/>
        </p:blipFill>
        <p:spPr bwMode="auto">
          <a:xfrm>
            <a:off x="10596639" y="2285036"/>
            <a:ext cx="1105377" cy="625119"/>
          </a:xfrm>
          <a:prstGeom prst="rect">
            <a:avLst/>
          </a:prstGeom>
          <a:noFill/>
          <a:ln>
            <a:noFill/>
          </a:ln>
        </p:spPr>
      </p:pic>
      <p:grpSp>
        <p:nvGrpSpPr>
          <p:cNvPr id="88" name="Group 87">
            <a:extLst>
              <a:ext uri="{FF2B5EF4-FFF2-40B4-BE49-F238E27FC236}">
                <a16:creationId xmlns:a16="http://schemas.microsoft.com/office/drawing/2014/main" id="{EAFCEC1B-0F4A-7AF6-59CF-A2670038EEC3}"/>
              </a:ext>
            </a:extLst>
          </p:cNvPr>
          <p:cNvGrpSpPr/>
          <p:nvPr/>
        </p:nvGrpSpPr>
        <p:grpSpPr>
          <a:xfrm>
            <a:off x="8016044" y="3157518"/>
            <a:ext cx="2850857" cy="400110"/>
            <a:chOff x="4847165" y="3305797"/>
            <a:chExt cx="2946426" cy="429756"/>
          </a:xfrm>
        </p:grpSpPr>
        <p:grpSp>
          <p:nvGrpSpPr>
            <p:cNvPr id="89" name="Group 88">
              <a:extLst>
                <a:ext uri="{FF2B5EF4-FFF2-40B4-BE49-F238E27FC236}">
                  <a16:creationId xmlns:a16="http://schemas.microsoft.com/office/drawing/2014/main" id="{89C1C09E-0454-A19E-289B-F37D4813E8FC}"/>
                </a:ext>
              </a:extLst>
            </p:cNvPr>
            <p:cNvGrpSpPr>
              <a:grpSpLocks noChangeAspect="1"/>
            </p:cNvGrpSpPr>
            <p:nvPr/>
          </p:nvGrpSpPr>
          <p:grpSpPr>
            <a:xfrm>
              <a:off x="4847165" y="3334609"/>
              <a:ext cx="365760" cy="365760"/>
              <a:chOff x="1382806" y="3668806"/>
              <a:chExt cx="3025589" cy="3025588"/>
            </a:xfrm>
          </p:grpSpPr>
          <p:sp>
            <p:nvSpPr>
              <p:cNvPr id="91" name="Rectangle 90">
                <a:extLst>
                  <a:ext uri="{FF2B5EF4-FFF2-40B4-BE49-F238E27FC236}">
                    <a16:creationId xmlns:a16="http://schemas.microsoft.com/office/drawing/2014/main" id="{E505FDCB-601A-9709-2A53-C26A91004EB3}"/>
                  </a:ext>
                </a:extLst>
              </p:cNvPr>
              <p:cNvSpPr/>
              <p:nvPr/>
            </p:nvSpPr>
            <p:spPr>
              <a:xfrm>
                <a:off x="1382806" y="3668806"/>
                <a:ext cx="3025588" cy="3025588"/>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white"/>
                  </a:solidFill>
                  <a:effectLst/>
                  <a:uLnTx/>
                  <a:uFillTx/>
                  <a:latin typeface="Verdana"/>
                  <a:ea typeface="+mn-ea"/>
                  <a:cs typeface="+mn-cs"/>
                </a:endParaRPr>
              </a:p>
            </p:txBody>
          </p:sp>
          <p:sp>
            <p:nvSpPr>
              <p:cNvPr id="92" name="TextBox 91">
                <a:extLst>
                  <a:ext uri="{FF2B5EF4-FFF2-40B4-BE49-F238E27FC236}">
                    <a16:creationId xmlns:a16="http://schemas.microsoft.com/office/drawing/2014/main" id="{558854F2-0748-37CB-962C-BD1A8D13A6EA}"/>
                  </a:ext>
                </a:extLst>
              </p:cNvPr>
              <p:cNvSpPr txBox="1"/>
              <p:nvPr/>
            </p:nvSpPr>
            <p:spPr>
              <a:xfrm>
                <a:off x="2301328" y="4390328"/>
                <a:ext cx="2107067" cy="2304066"/>
              </a:xfrm>
              <a:custGeom>
                <a:avLst/>
                <a:gdLst>
                  <a:gd name="connsiteX0" fmla="*/ 163419 w 2107067"/>
                  <a:gd name="connsiteY0" fmla="*/ 966904 h 2304066"/>
                  <a:gd name="connsiteX1" fmla="*/ 194031 w 2107067"/>
                  <a:gd name="connsiteY1" fmla="*/ 971774 h 2304066"/>
                  <a:gd name="connsiteX2" fmla="*/ 360197 w 2107067"/>
                  <a:gd name="connsiteY2" fmla="*/ 971774 h 2304066"/>
                  <a:gd name="connsiteX3" fmla="*/ 543426 w 2107067"/>
                  <a:gd name="connsiteY3" fmla="*/ 992545 h 2304066"/>
                  <a:gd name="connsiteX4" fmla="*/ 672502 w 2107067"/>
                  <a:gd name="connsiteY4" fmla="*/ 1051148 h 2304066"/>
                  <a:gd name="connsiteX5" fmla="*/ 749650 w 2107067"/>
                  <a:gd name="connsiteY5" fmla="*/ 1142392 h 2304066"/>
                  <a:gd name="connsiteX6" fmla="*/ 775614 w 2107067"/>
                  <a:gd name="connsiteY6" fmla="*/ 1262566 h 2304066"/>
                  <a:gd name="connsiteX7" fmla="*/ 754101 w 2107067"/>
                  <a:gd name="connsiteY7" fmla="*/ 1373096 h 2304066"/>
                  <a:gd name="connsiteX8" fmla="*/ 727025 w 2107067"/>
                  <a:gd name="connsiteY8" fmla="*/ 1419089 h 2304066"/>
                  <a:gd name="connsiteX9" fmla="*/ 707462 w 2107067"/>
                  <a:gd name="connsiteY9" fmla="*/ 1438843 h 2304066"/>
                  <a:gd name="connsiteX10" fmla="*/ 449215 w 2107067"/>
                  <a:gd name="connsiteY10" fmla="*/ 164679 h 2304066"/>
                  <a:gd name="connsiteX11" fmla="*/ 567906 w 2107067"/>
                  <a:gd name="connsiteY11" fmla="*/ 183225 h 2304066"/>
                  <a:gd name="connsiteX12" fmla="*/ 650247 w 2107067"/>
                  <a:gd name="connsiteY12" fmla="*/ 233668 h 2304066"/>
                  <a:gd name="connsiteX13" fmla="*/ 698465 w 2107067"/>
                  <a:gd name="connsiteY13" fmla="*/ 309333 h 2304066"/>
                  <a:gd name="connsiteX14" fmla="*/ 714785 w 2107067"/>
                  <a:gd name="connsiteY14" fmla="*/ 402060 h 2304066"/>
                  <a:gd name="connsiteX15" fmla="*/ 691047 w 2107067"/>
                  <a:gd name="connsiteY15" fmla="*/ 518525 h 2304066"/>
                  <a:gd name="connsiteX16" fmla="*/ 622058 w 2107067"/>
                  <a:gd name="connsiteY16" fmla="*/ 608285 h 2304066"/>
                  <a:gd name="connsiteX17" fmla="*/ 510044 w 2107067"/>
                  <a:gd name="connsiteY17" fmla="*/ 665404 h 2304066"/>
                  <a:gd name="connsiteX18" fmla="*/ 447542 w 2107067"/>
                  <a:gd name="connsiteY18" fmla="*/ 678520 h 2304066"/>
                  <a:gd name="connsiteX19" fmla="*/ 23160 w 2107067"/>
                  <a:gd name="connsiteY19" fmla="*/ 310383 h 2304066"/>
                  <a:gd name="connsiteX20" fmla="*/ 33799 w 2107067"/>
                  <a:gd name="connsiteY20" fmla="*/ 313042 h 2304066"/>
                  <a:gd name="connsiteX21" fmla="*/ 89435 w 2107067"/>
                  <a:gd name="connsiteY21" fmla="*/ 289304 h 2304066"/>
                  <a:gd name="connsiteX22" fmla="*/ 181420 w 2107067"/>
                  <a:gd name="connsiteY22" fmla="*/ 238119 h 2304066"/>
                  <a:gd name="connsiteX23" fmla="*/ 303819 w 2107067"/>
                  <a:gd name="connsiteY23" fmla="*/ 187675 h 2304066"/>
                  <a:gd name="connsiteX24" fmla="*/ 449215 w 2107067"/>
                  <a:gd name="connsiteY24" fmla="*/ 164679 h 2304066"/>
                  <a:gd name="connsiteX25" fmla="*/ 1007444 w 2107067"/>
                  <a:gd name="connsiteY25" fmla="*/ 0 h 2304066"/>
                  <a:gd name="connsiteX26" fmla="*/ 2107067 w 2107067"/>
                  <a:gd name="connsiteY26" fmla="*/ 953887 h 2304066"/>
                  <a:gd name="connsiteX27" fmla="*/ 2107067 w 2107067"/>
                  <a:gd name="connsiteY27" fmla="*/ 2304066 h 2304066"/>
                  <a:gd name="connsiteX28" fmla="*/ 665098 w 2107067"/>
                  <a:gd name="connsiteY28" fmla="*/ 2304066 h 2304066"/>
                  <a:gd name="connsiteX29" fmla="*/ 0 w 2107067"/>
                  <a:gd name="connsiteY29" fmla="*/ 1727116 h 2304066"/>
                  <a:gd name="connsiteX30" fmla="*/ 5610 w 2107067"/>
                  <a:gd name="connsiteY30" fmla="*/ 1731022 h 2304066"/>
                  <a:gd name="connsiteX31" fmla="*/ 41217 w 2107067"/>
                  <a:gd name="connsiteY31" fmla="*/ 1750680 h 2304066"/>
                  <a:gd name="connsiteX32" fmla="*/ 150264 w 2107067"/>
                  <a:gd name="connsiteY32" fmla="*/ 1793705 h 2304066"/>
                  <a:gd name="connsiteX33" fmla="*/ 302336 w 2107067"/>
                  <a:gd name="connsiteY33" fmla="*/ 1828571 h 2304066"/>
                  <a:gd name="connsiteX34" fmla="*/ 486306 w 2107067"/>
                  <a:gd name="connsiteY34" fmla="*/ 1842665 h 2304066"/>
                  <a:gd name="connsiteX35" fmla="*/ 784516 w 2107067"/>
                  <a:gd name="connsiteY35" fmla="*/ 1803349 h 2304066"/>
                  <a:gd name="connsiteX36" fmla="*/ 1018929 w 2107067"/>
                  <a:gd name="connsiteY36" fmla="*/ 1688368 h 2304066"/>
                  <a:gd name="connsiteX37" fmla="*/ 1171743 w 2107067"/>
                  <a:gd name="connsiteY37" fmla="*/ 1501430 h 2304066"/>
                  <a:gd name="connsiteX38" fmla="*/ 1226637 w 2107067"/>
                  <a:gd name="connsiteY38" fmla="*/ 1246246 h 2304066"/>
                  <a:gd name="connsiteX39" fmla="*/ 1196965 w 2107067"/>
                  <a:gd name="connsiteY39" fmla="*/ 1085272 h 2304066"/>
                  <a:gd name="connsiteX40" fmla="*/ 1111656 w 2107067"/>
                  <a:gd name="connsiteY40" fmla="*/ 951003 h 2304066"/>
                  <a:gd name="connsiteX41" fmla="*/ 975904 w 2107067"/>
                  <a:gd name="connsiteY41" fmla="*/ 852342 h 2304066"/>
                  <a:gd name="connsiteX42" fmla="*/ 794901 w 2107067"/>
                  <a:gd name="connsiteY42" fmla="*/ 801157 h 2304066"/>
                  <a:gd name="connsiteX43" fmla="*/ 794901 w 2107067"/>
                  <a:gd name="connsiteY43" fmla="*/ 796706 h 2304066"/>
                  <a:gd name="connsiteX44" fmla="*/ 944006 w 2107067"/>
                  <a:gd name="connsiteY44" fmla="*/ 734393 h 2304066"/>
                  <a:gd name="connsiteX45" fmla="*/ 1051569 w 2107067"/>
                  <a:gd name="connsiteY45" fmla="*/ 633507 h 2304066"/>
                  <a:gd name="connsiteX46" fmla="*/ 1116849 w 2107067"/>
                  <a:gd name="connsiteY46" fmla="*/ 498496 h 2304066"/>
                  <a:gd name="connsiteX47" fmla="*/ 1139103 w 2107067"/>
                  <a:gd name="connsiteY47" fmla="*/ 335297 h 2304066"/>
                  <a:gd name="connsiteX48" fmla="*/ 1101271 w 2107067"/>
                  <a:gd name="connsiteY48" fmla="*/ 132781 h 2304066"/>
                  <a:gd name="connsiteX49" fmla="*/ 1054536 w 2107067"/>
                  <a:gd name="connsiteY49" fmla="*/ 50069 h 2304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2107067" h="2304066">
                    <a:moveTo>
                      <a:pt x="163419" y="966904"/>
                    </a:moveTo>
                    <a:lnTo>
                      <a:pt x="194031" y="971774"/>
                    </a:lnTo>
                    <a:lnTo>
                      <a:pt x="360197" y="971774"/>
                    </a:lnTo>
                    <a:cubicBezTo>
                      <a:pt x="430423" y="971774"/>
                      <a:pt x="491499" y="978698"/>
                      <a:pt x="543426" y="992545"/>
                    </a:cubicBezTo>
                    <a:cubicBezTo>
                      <a:pt x="595353" y="1006392"/>
                      <a:pt x="638378" y="1025927"/>
                      <a:pt x="672502" y="1051148"/>
                    </a:cubicBezTo>
                    <a:cubicBezTo>
                      <a:pt x="706625" y="1076370"/>
                      <a:pt x="732341" y="1106784"/>
                      <a:pt x="749650" y="1142392"/>
                    </a:cubicBezTo>
                    <a:cubicBezTo>
                      <a:pt x="766959" y="1177999"/>
                      <a:pt x="775614" y="1218057"/>
                      <a:pt x="775614" y="1262566"/>
                    </a:cubicBezTo>
                    <a:cubicBezTo>
                      <a:pt x="775614" y="1303118"/>
                      <a:pt x="768443" y="1339962"/>
                      <a:pt x="754101" y="1373096"/>
                    </a:cubicBezTo>
                    <a:cubicBezTo>
                      <a:pt x="746930" y="1389664"/>
                      <a:pt x="737905" y="1404995"/>
                      <a:pt x="727025" y="1419089"/>
                    </a:cubicBezTo>
                    <a:lnTo>
                      <a:pt x="707462" y="1438843"/>
                    </a:lnTo>
                    <a:close/>
                    <a:moveTo>
                      <a:pt x="449215" y="164679"/>
                    </a:moveTo>
                    <a:cubicBezTo>
                      <a:pt x="494713" y="164679"/>
                      <a:pt x="534277" y="170861"/>
                      <a:pt x="567906" y="183225"/>
                    </a:cubicBezTo>
                    <a:cubicBezTo>
                      <a:pt x="601535" y="195588"/>
                      <a:pt x="628982" y="212403"/>
                      <a:pt x="650247" y="233668"/>
                    </a:cubicBezTo>
                    <a:cubicBezTo>
                      <a:pt x="671512" y="254933"/>
                      <a:pt x="687585" y="280155"/>
                      <a:pt x="698465" y="309333"/>
                    </a:cubicBezTo>
                    <a:cubicBezTo>
                      <a:pt x="709345" y="338511"/>
                      <a:pt x="714785" y="369420"/>
                      <a:pt x="714785" y="402060"/>
                    </a:cubicBezTo>
                    <a:cubicBezTo>
                      <a:pt x="714785" y="444591"/>
                      <a:pt x="706872" y="483412"/>
                      <a:pt x="691047" y="518525"/>
                    </a:cubicBezTo>
                    <a:cubicBezTo>
                      <a:pt x="675222" y="553638"/>
                      <a:pt x="652225" y="583557"/>
                      <a:pt x="622058" y="608285"/>
                    </a:cubicBezTo>
                    <a:cubicBezTo>
                      <a:pt x="591891" y="633012"/>
                      <a:pt x="554553" y="652052"/>
                      <a:pt x="510044" y="665404"/>
                    </a:cubicBezTo>
                    <a:lnTo>
                      <a:pt x="447542" y="678520"/>
                    </a:lnTo>
                    <a:lnTo>
                      <a:pt x="23160" y="310383"/>
                    </a:lnTo>
                    <a:lnTo>
                      <a:pt x="33799" y="313042"/>
                    </a:lnTo>
                    <a:cubicBezTo>
                      <a:pt x="45668" y="313042"/>
                      <a:pt x="64213" y="305130"/>
                      <a:pt x="89435" y="289304"/>
                    </a:cubicBezTo>
                    <a:cubicBezTo>
                      <a:pt x="114657" y="273479"/>
                      <a:pt x="145318" y="256417"/>
                      <a:pt x="181420" y="238119"/>
                    </a:cubicBezTo>
                    <a:cubicBezTo>
                      <a:pt x="217522" y="219821"/>
                      <a:pt x="258321" y="203006"/>
                      <a:pt x="303819" y="187675"/>
                    </a:cubicBezTo>
                    <a:cubicBezTo>
                      <a:pt x="349317" y="172345"/>
                      <a:pt x="397783" y="164679"/>
                      <a:pt x="449215" y="164679"/>
                    </a:cubicBezTo>
                    <a:close/>
                    <a:moveTo>
                      <a:pt x="1007444" y="0"/>
                    </a:moveTo>
                    <a:lnTo>
                      <a:pt x="2107067" y="953887"/>
                    </a:lnTo>
                    <a:lnTo>
                      <a:pt x="2107067" y="2304066"/>
                    </a:lnTo>
                    <a:lnTo>
                      <a:pt x="665098" y="2304066"/>
                    </a:lnTo>
                    <a:lnTo>
                      <a:pt x="0" y="1727116"/>
                    </a:lnTo>
                    <a:lnTo>
                      <a:pt x="5610" y="1731022"/>
                    </a:lnTo>
                    <a:cubicBezTo>
                      <a:pt x="15006" y="1736709"/>
                      <a:pt x="26875" y="1743262"/>
                      <a:pt x="41217" y="1750680"/>
                    </a:cubicBezTo>
                    <a:cubicBezTo>
                      <a:pt x="69900" y="1765516"/>
                      <a:pt x="106249" y="1779858"/>
                      <a:pt x="150264" y="1793705"/>
                    </a:cubicBezTo>
                    <a:cubicBezTo>
                      <a:pt x="194278" y="1807553"/>
                      <a:pt x="244969" y="1819174"/>
                      <a:pt x="302336" y="1828571"/>
                    </a:cubicBezTo>
                    <a:cubicBezTo>
                      <a:pt x="359703" y="1837967"/>
                      <a:pt x="421026" y="1842665"/>
                      <a:pt x="486306" y="1842665"/>
                    </a:cubicBezTo>
                    <a:cubicBezTo>
                      <a:pt x="594116" y="1842665"/>
                      <a:pt x="693520" y="1829560"/>
                      <a:pt x="784516" y="1803349"/>
                    </a:cubicBezTo>
                    <a:cubicBezTo>
                      <a:pt x="875512" y="1777138"/>
                      <a:pt x="953650" y="1738811"/>
                      <a:pt x="1018929" y="1688368"/>
                    </a:cubicBezTo>
                    <a:cubicBezTo>
                      <a:pt x="1084209" y="1637924"/>
                      <a:pt x="1135147" y="1575612"/>
                      <a:pt x="1171743" y="1501430"/>
                    </a:cubicBezTo>
                    <a:cubicBezTo>
                      <a:pt x="1208339" y="1427249"/>
                      <a:pt x="1226637" y="1342187"/>
                      <a:pt x="1226637" y="1246246"/>
                    </a:cubicBezTo>
                    <a:cubicBezTo>
                      <a:pt x="1226637" y="1188879"/>
                      <a:pt x="1216747" y="1135221"/>
                      <a:pt x="1196965" y="1085272"/>
                    </a:cubicBezTo>
                    <a:cubicBezTo>
                      <a:pt x="1177183" y="1035323"/>
                      <a:pt x="1148747" y="990567"/>
                      <a:pt x="1111656" y="951003"/>
                    </a:cubicBezTo>
                    <a:cubicBezTo>
                      <a:pt x="1074565" y="911440"/>
                      <a:pt x="1029315" y="878553"/>
                      <a:pt x="975904" y="852342"/>
                    </a:cubicBezTo>
                    <a:cubicBezTo>
                      <a:pt x="922493" y="826131"/>
                      <a:pt x="862159" y="809069"/>
                      <a:pt x="794901" y="801157"/>
                    </a:cubicBezTo>
                    <a:lnTo>
                      <a:pt x="794901" y="796706"/>
                    </a:lnTo>
                    <a:cubicBezTo>
                      <a:pt x="851279" y="782859"/>
                      <a:pt x="900981" y="762088"/>
                      <a:pt x="944006" y="734393"/>
                    </a:cubicBezTo>
                    <a:cubicBezTo>
                      <a:pt x="987031" y="706699"/>
                      <a:pt x="1022886" y="673070"/>
                      <a:pt x="1051569" y="633507"/>
                    </a:cubicBezTo>
                    <a:cubicBezTo>
                      <a:pt x="1080253" y="593943"/>
                      <a:pt x="1102013" y="548939"/>
                      <a:pt x="1116849" y="498496"/>
                    </a:cubicBezTo>
                    <a:cubicBezTo>
                      <a:pt x="1131685" y="448053"/>
                      <a:pt x="1139103" y="393653"/>
                      <a:pt x="1139103" y="335297"/>
                    </a:cubicBezTo>
                    <a:cubicBezTo>
                      <a:pt x="1139103" y="260126"/>
                      <a:pt x="1126492" y="192621"/>
                      <a:pt x="1101271" y="132781"/>
                    </a:cubicBezTo>
                    <a:cubicBezTo>
                      <a:pt x="1088660" y="102861"/>
                      <a:pt x="1073082" y="75290"/>
                      <a:pt x="1054536" y="50069"/>
                    </a:cubicBezTo>
                    <a:close/>
                  </a:path>
                </a:pathLst>
              </a:custGeom>
              <a:solidFill>
                <a:srgbClr val="0000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white"/>
                  </a:solidFill>
                  <a:effectLst/>
                  <a:uLnTx/>
                  <a:uFillTx/>
                  <a:latin typeface="Verdana"/>
                  <a:ea typeface="+mn-ea"/>
                  <a:cs typeface="+mn-cs"/>
                </a:endParaRPr>
              </a:p>
            </p:txBody>
          </p:sp>
          <p:sp>
            <p:nvSpPr>
              <p:cNvPr id="93" name="Freeform 16">
                <a:extLst>
                  <a:ext uri="{FF2B5EF4-FFF2-40B4-BE49-F238E27FC236}">
                    <a16:creationId xmlns:a16="http://schemas.microsoft.com/office/drawing/2014/main" id="{22B713B9-0EE7-075E-CF44-F7EB87A49E0B}"/>
                  </a:ext>
                </a:extLst>
              </p:cNvPr>
              <p:cNvSpPr/>
              <p:nvPr/>
            </p:nvSpPr>
            <p:spPr>
              <a:xfrm>
                <a:off x="2244624" y="4244929"/>
                <a:ext cx="1283340" cy="1988065"/>
              </a:xfrm>
              <a:custGeom>
                <a:avLst/>
                <a:gdLst/>
                <a:ahLst/>
                <a:cxnLst/>
                <a:rect l="l" t="t" r="r" b="b"/>
                <a:pathLst>
                  <a:path w="1283340" h="1988065">
                    <a:moveTo>
                      <a:pt x="618674" y="0"/>
                    </a:moveTo>
                    <a:cubicBezTo>
                      <a:pt x="711648" y="0"/>
                      <a:pt x="793990" y="10880"/>
                      <a:pt x="865699" y="32640"/>
                    </a:cubicBezTo>
                    <a:cubicBezTo>
                      <a:pt x="937407" y="54400"/>
                      <a:pt x="997742" y="85804"/>
                      <a:pt x="1046701" y="126851"/>
                    </a:cubicBezTo>
                    <a:cubicBezTo>
                      <a:pt x="1095661" y="167898"/>
                      <a:pt x="1132752" y="218341"/>
                      <a:pt x="1157974" y="278181"/>
                    </a:cubicBezTo>
                    <a:cubicBezTo>
                      <a:pt x="1183195" y="338021"/>
                      <a:pt x="1195806" y="405526"/>
                      <a:pt x="1195806" y="480697"/>
                    </a:cubicBezTo>
                    <a:cubicBezTo>
                      <a:pt x="1195806" y="539053"/>
                      <a:pt x="1188388" y="593453"/>
                      <a:pt x="1173552" y="643896"/>
                    </a:cubicBezTo>
                    <a:cubicBezTo>
                      <a:pt x="1158716" y="694339"/>
                      <a:pt x="1136956" y="739343"/>
                      <a:pt x="1108272" y="778907"/>
                    </a:cubicBezTo>
                    <a:cubicBezTo>
                      <a:pt x="1079589" y="818470"/>
                      <a:pt x="1043734" y="852099"/>
                      <a:pt x="1000709" y="879793"/>
                    </a:cubicBezTo>
                    <a:cubicBezTo>
                      <a:pt x="957684" y="907488"/>
                      <a:pt x="907982" y="928259"/>
                      <a:pt x="851604" y="942106"/>
                    </a:cubicBezTo>
                    <a:lnTo>
                      <a:pt x="851604" y="946557"/>
                    </a:lnTo>
                    <a:cubicBezTo>
                      <a:pt x="918862" y="954469"/>
                      <a:pt x="979196" y="971531"/>
                      <a:pt x="1032607" y="997742"/>
                    </a:cubicBezTo>
                    <a:cubicBezTo>
                      <a:pt x="1086018" y="1023953"/>
                      <a:pt x="1131268" y="1056840"/>
                      <a:pt x="1168359" y="1096403"/>
                    </a:cubicBezTo>
                    <a:cubicBezTo>
                      <a:pt x="1205450" y="1135967"/>
                      <a:pt x="1233886" y="1180723"/>
                      <a:pt x="1253668" y="1230672"/>
                    </a:cubicBezTo>
                    <a:cubicBezTo>
                      <a:pt x="1273450" y="1280621"/>
                      <a:pt x="1283340" y="1334279"/>
                      <a:pt x="1283340" y="1391646"/>
                    </a:cubicBezTo>
                    <a:cubicBezTo>
                      <a:pt x="1283340" y="1487587"/>
                      <a:pt x="1265042" y="1572649"/>
                      <a:pt x="1228446" y="1646830"/>
                    </a:cubicBezTo>
                    <a:cubicBezTo>
                      <a:pt x="1191850" y="1721012"/>
                      <a:pt x="1140912" y="1783324"/>
                      <a:pt x="1075632" y="1833768"/>
                    </a:cubicBezTo>
                    <a:cubicBezTo>
                      <a:pt x="1010353" y="1884211"/>
                      <a:pt x="932215" y="1922538"/>
                      <a:pt x="841219" y="1948749"/>
                    </a:cubicBezTo>
                    <a:cubicBezTo>
                      <a:pt x="750223" y="1974960"/>
                      <a:pt x="650819" y="1988065"/>
                      <a:pt x="543009" y="1988065"/>
                    </a:cubicBezTo>
                    <a:cubicBezTo>
                      <a:pt x="477729" y="1988065"/>
                      <a:pt x="416406" y="1983367"/>
                      <a:pt x="359039" y="1973971"/>
                    </a:cubicBezTo>
                    <a:cubicBezTo>
                      <a:pt x="301672" y="1964574"/>
                      <a:pt x="250981" y="1952953"/>
                      <a:pt x="206967" y="1939105"/>
                    </a:cubicBezTo>
                    <a:cubicBezTo>
                      <a:pt x="162952" y="1925258"/>
                      <a:pt x="126603" y="1910916"/>
                      <a:pt x="97920" y="1896080"/>
                    </a:cubicBezTo>
                    <a:cubicBezTo>
                      <a:pt x="69236" y="1881244"/>
                      <a:pt x="50444" y="1869869"/>
                      <a:pt x="41542" y="1861957"/>
                    </a:cubicBezTo>
                    <a:cubicBezTo>
                      <a:pt x="32640" y="1854044"/>
                      <a:pt x="25964" y="1845142"/>
                      <a:pt x="21513" y="1835251"/>
                    </a:cubicBezTo>
                    <a:cubicBezTo>
                      <a:pt x="17062" y="1825360"/>
                      <a:pt x="13106" y="1813739"/>
                      <a:pt x="9644" y="1800386"/>
                    </a:cubicBezTo>
                    <a:cubicBezTo>
                      <a:pt x="6182" y="1787033"/>
                      <a:pt x="3709" y="1770219"/>
                      <a:pt x="2226" y="1749943"/>
                    </a:cubicBezTo>
                    <a:cubicBezTo>
                      <a:pt x="742" y="1729666"/>
                      <a:pt x="0" y="1705186"/>
                      <a:pt x="0" y="1676503"/>
                    </a:cubicBezTo>
                    <a:cubicBezTo>
                      <a:pt x="0" y="1629027"/>
                      <a:pt x="3957" y="1596139"/>
                      <a:pt x="11869" y="1577841"/>
                    </a:cubicBezTo>
                    <a:cubicBezTo>
                      <a:pt x="19782" y="1559543"/>
                      <a:pt x="31651" y="1550394"/>
                      <a:pt x="47476" y="1550394"/>
                    </a:cubicBezTo>
                    <a:cubicBezTo>
                      <a:pt x="57367" y="1550394"/>
                      <a:pt x="74429" y="1557071"/>
                      <a:pt x="98662" y="1570423"/>
                    </a:cubicBezTo>
                    <a:cubicBezTo>
                      <a:pt x="122894" y="1583776"/>
                      <a:pt x="153803" y="1598118"/>
                      <a:pt x="191389" y="1613449"/>
                    </a:cubicBezTo>
                    <a:cubicBezTo>
                      <a:pt x="228974" y="1628779"/>
                      <a:pt x="272988" y="1643121"/>
                      <a:pt x="323432" y="1656474"/>
                    </a:cubicBezTo>
                    <a:cubicBezTo>
                      <a:pt x="373875" y="1669827"/>
                      <a:pt x="431242" y="1676503"/>
                      <a:pt x="495533" y="1676503"/>
                    </a:cubicBezTo>
                    <a:cubicBezTo>
                      <a:pt x="549933" y="1676503"/>
                      <a:pt x="597903" y="1670074"/>
                      <a:pt x="639445" y="1657216"/>
                    </a:cubicBezTo>
                    <a:cubicBezTo>
                      <a:pt x="680987" y="1644357"/>
                      <a:pt x="716346" y="1626307"/>
                      <a:pt x="745525" y="1603063"/>
                    </a:cubicBezTo>
                    <a:cubicBezTo>
                      <a:pt x="774703" y="1579820"/>
                      <a:pt x="796462" y="1551631"/>
                      <a:pt x="810804" y="1518496"/>
                    </a:cubicBezTo>
                    <a:cubicBezTo>
                      <a:pt x="825146" y="1485362"/>
                      <a:pt x="832317" y="1448518"/>
                      <a:pt x="832317" y="1407966"/>
                    </a:cubicBezTo>
                    <a:cubicBezTo>
                      <a:pt x="832317" y="1363457"/>
                      <a:pt x="823662" y="1323399"/>
                      <a:pt x="806353" y="1287792"/>
                    </a:cubicBezTo>
                    <a:cubicBezTo>
                      <a:pt x="789044" y="1252184"/>
                      <a:pt x="763328" y="1221770"/>
                      <a:pt x="729205" y="1196548"/>
                    </a:cubicBezTo>
                    <a:cubicBezTo>
                      <a:pt x="695081" y="1171327"/>
                      <a:pt x="652056" y="1151792"/>
                      <a:pt x="600129" y="1137945"/>
                    </a:cubicBezTo>
                    <a:cubicBezTo>
                      <a:pt x="548202" y="1124098"/>
                      <a:pt x="487126" y="1117174"/>
                      <a:pt x="416900" y="1117174"/>
                    </a:cubicBezTo>
                    <a:lnTo>
                      <a:pt x="250734" y="1117174"/>
                    </a:lnTo>
                    <a:cubicBezTo>
                      <a:pt x="237876" y="1117174"/>
                      <a:pt x="226996" y="1115443"/>
                      <a:pt x="218094" y="1111981"/>
                    </a:cubicBezTo>
                    <a:cubicBezTo>
                      <a:pt x="209192" y="1108520"/>
                      <a:pt x="201774" y="1101349"/>
                      <a:pt x="195839" y="1090469"/>
                    </a:cubicBezTo>
                    <a:cubicBezTo>
                      <a:pt x="189905" y="1079589"/>
                      <a:pt x="185701" y="1064505"/>
                      <a:pt x="183229" y="1045218"/>
                    </a:cubicBezTo>
                    <a:cubicBezTo>
                      <a:pt x="180756" y="1025931"/>
                      <a:pt x="179519" y="1000957"/>
                      <a:pt x="179519" y="970295"/>
                    </a:cubicBezTo>
                    <a:cubicBezTo>
                      <a:pt x="179519" y="941611"/>
                      <a:pt x="180756" y="918120"/>
                      <a:pt x="183229" y="899822"/>
                    </a:cubicBezTo>
                    <a:cubicBezTo>
                      <a:pt x="185701" y="881524"/>
                      <a:pt x="189658" y="867430"/>
                      <a:pt x="195098" y="857539"/>
                    </a:cubicBezTo>
                    <a:cubicBezTo>
                      <a:pt x="200538" y="847648"/>
                      <a:pt x="207461" y="840724"/>
                      <a:pt x="215868" y="836768"/>
                    </a:cubicBezTo>
                    <a:cubicBezTo>
                      <a:pt x="224276" y="832812"/>
                      <a:pt x="234414" y="830833"/>
                      <a:pt x="246283" y="830833"/>
                    </a:cubicBezTo>
                    <a:lnTo>
                      <a:pt x="413933" y="830833"/>
                    </a:lnTo>
                    <a:cubicBezTo>
                      <a:pt x="471300" y="830833"/>
                      <a:pt x="522238" y="824157"/>
                      <a:pt x="566747" y="810804"/>
                    </a:cubicBezTo>
                    <a:cubicBezTo>
                      <a:pt x="611256" y="797452"/>
                      <a:pt x="648594" y="778412"/>
                      <a:pt x="678761" y="753685"/>
                    </a:cubicBezTo>
                    <a:cubicBezTo>
                      <a:pt x="708928" y="728957"/>
                      <a:pt x="731925" y="699038"/>
                      <a:pt x="747750" y="663925"/>
                    </a:cubicBezTo>
                    <a:cubicBezTo>
                      <a:pt x="763575" y="628812"/>
                      <a:pt x="771488" y="589991"/>
                      <a:pt x="771488" y="547460"/>
                    </a:cubicBezTo>
                    <a:cubicBezTo>
                      <a:pt x="771488" y="514820"/>
                      <a:pt x="766048" y="483911"/>
                      <a:pt x="755168" y="454733"/>
                    </a:cubicBezTo>
                    <a:cubicBezTo>
                      <a:pt x="744288" y="425555"/>
                      <a:pt x="728215" y="400333"/>
                      <a:pt x="706950" y="379068"/>
                    </a:cubicBezTo>
                    <a:cubicBezTo>
                      <a:pt x="685685" y="357803"/>
                      <a:pt x="658238" y="340988"/>
                      <a:pt x="624609" y="328625"/>
                    </a:cubicBezTo>
                    <a:cubicBezTo>
                      <a:pt x="590980" y="316261"/>
                      <a:pt x="551416" y="310079"/>
                      <a:pt x="505918" y="310079"/>
                    </a:cubicBezTo>
                    <a:cubicBezTo>
                      <a:pt x="454486" y="310079"/>
                      <a:pt x="406020" y="317745"/>
                      <a:pt x="360522" y="333075"/>
                    </a:cubicBezTo>
                    <a:cubicBezTo>
                      <a:pt x="315024" y="348406"/>
                      <a:pt x="274225" y="365221"/>
                      <a:pt x="238123" y="383519"/>
                    </a:cubicBezTo>
                    <a:cubicBezTo>
                      <a:pt x="202021" y="401817"/>
                      <a:pt x="171360" y="418879"/>
                      <a:pt x="146138" y="434704"/>
                    </a:cubicBezTo>
                    <a:cubicBezTo>
                      <a:pt x="120916" y="450530"/>
                      <a:pt x="102371" y="458442"/>
                      <a:pt x="90502" y="458442"/>
                    </a:cubicBezTo>
                    <a:cubicBezTo>
                      <a:pt x="82589" y="458442"/>
                      <a:pt x="75665" y="456711"/>
                      <a:pt x="69731" y="453250"/>
                    </a:cubicBezTo>
                    <a:cubicBezTo>
                      <a:pt x="63796" y="449788"/>
                      <a:pt x="58851" y="443111"/>
                      <a:pt x="54895" y="433221"/>
                    </a:cubicBezTo>
                    <a:cubicBezTo>
                      <a:pt x="50938" y="423330"/>
                      <a:pt x="47971" y="408988"/>
                      <a:pt x="45993" y="390195"/>
                    </a:cubicBezTo>
                    <a:cubicBezTo>
                      <a:pt x="44015" y="371403"/>
                      <a:pt x="43026" y="347170"/>
                      <a:pt x="43026" y="317497"/>
                    </a:cubicBezTo>
                    <a:cubicBezTo>
                      <a:pt x="43026" y="292770"/>
                      <a:pt x="43520" y="272247"/>
                      <a:pt x="44509" y="255927"/>
                    </a:cubicBezTo>
                    <a:cubicBezTo>
                      <a:pt x="45498" y="239607"/>
                      <a:pt x="47476" y="226007"/>
                      <a:pt x="50444" y="215127"/>
                    </a:cubicBezTo>
                    <a:cubicBezTo>
                      <a:pt x="53411" y="204247"/>
                      <a:pt x="57120" y="194851"/>
                      <a:pt x="61571" y="186938"/>
                    </a:cubicBezTo>
                    <a:cubicBezTo>
                      <a:pt x="66022" y="179025"/>
                      <a:pt x="73193" y="170371"/>
                      <a:pt x="83084" y="160974"/>
                    </a:cubicBezTo>
                    <a:cubicBezTo>
                      <a:pt x="92974" y="151578"/>
                      <a:pt x="113251" y="137483"/>
                      <a:pt x="143912" y="118691"/>
                    </a:cubicBezTo>
                    <a:cubicBezTo>
                      <a:pt x="174574" y="99898"/>
                      <a:pt x="213148" y="81600"/>
                      <a:pt x="259636" y="63797"/>
                    </a:cubicBezTo>
                    <a:cubicBezTo>
                      <a:pt x="306123" y="45993"/>
                      <a:pt x="359781" y="30910"/>
                      <a:pt x="420609" y="18546"/>
                    </a:cubicBezTo>
                    <a:cubicBezTo>
                      <a:pt x="481438" y="6182"/>
                      <a:pt x="547460" y="0"/>
                      <a:pt x="61867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white"/>
                  </a:solidFill>
                  <a:effectLst/>
                  <a:uLnTx/>
                  <a:uFillTx/>
                  <a:latin typeface="Verdana"/>
                  <a:ea typeface="+mn-ea"/>
                  <a:cs typeface="+mn-cs"/>
                </a:endParaRPr>
              </a:p>
            </p:txBody>
          </p:sp>
        </p:grpSp>
        <p:sp>
          <p:nvSpPr>
            <p:cNvPr id="90" name="TextBox 89">
              <a:extLst>
                <a:ext uri="{FF2B5EF4-FFF2-40B4-BE49-F238E27FC236}">
                  <a16:creationId xmlns:a16="http://schemas.microsoft.com/office/drawing/2014/main" id="{9A563AF5-537D-6522-D633-2802FE135715}"/>
                </a:ext>
              </a:extLst>
            </p:cNvPr>
            <p:cNvSpPr txBox="1"/>
            <p:nvPr/>
          </p:nvSpPr>
          <p:spPr>
            <a:xfrm>
              <a:off x="5241600" y="3305797"/>
              <a:ext cx="2551991" cy="42975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Verdana"/>
                  <a:ea typeface="+mn-ea"/>
                  <a:cs typeface="+mn-cs"/>
                </a:rPr>
                <a:t>AIOps based Continuous Monitoring</a:t>
              </a:r>
              <a:r>
                <a:rPr kumimoji="0" lang="en-US" sz="1000" b="0" i="0" u="none" strike="noStrike" kern="1200" cap="none" spc="0" normalizeH="0" baseline="0" noProof="0">
                  <a:ln>
                    <a:noFill/>
                  </a:ln>
                  <a:solidFill>
                    <a:srgbClr val="000000"/>
                  </a:solidFill>
                  <a:effectLst/>
                  <a:uLnTx/>
                  <a:uFillTx/>
                  <a:latin typeface="Verdana"/>
                  <a:ea typeface="+mn-ea"/>
                  <a:cs typeface="+mn-cs"/>
                </a:rPr>
                <a:t> solution</a:t>
              </a:r>
            </a:p>
          </p:txBody>
        </p:sp>
      </p:grpSp>
      <p:grpSp>
        <p:nvGrpSpPr>
          <p:cNvPr id="94" name="Group 93">
            <a:extLst>
              <a:ext uri="{FF2B5EF4-FFF2-40B4-BE49-F238E27FC236}">
                <a16:creationId xmlns:a16="http://schemas.microsoft.com/office/drawing/2014/main" id="{678B393A-30ED-0B1F-4D7F-E7AF7C0E6308}"/>
              </a:ext>
            </a:extLst>
          </p:cNvPr>
          <p:cNvGrpSpPr/>
          <p:nvPr/>
        </p:nvGrpSpPr>
        <p:grpSpPr>
          <a:xfrm>
            <a:off x="8016043" y="3770942"/>
            <a:ext cx="2850856" cy="692497"/>
            <a:chOff x="4847165" y="3964689"/>
            <a:chExt cx="2946425" cy="743810"/>
          </a:xfrm>
        </p:grpSpPr>
        <p:grpSp>
          <p:nvGrpSpPr>
            <p:cNvPr id="95" name="Group 94">
              <a:extLst>
                <a:ext uri="{FF2B5EF4-FFF2-40B4-BE49-F238E27FC236}">
                  <a16:creationId xmlns:a16="http://schemas.microsoft.com/office/drawing/2014/main" id="{7763DBFC-6B69-CBAA-96F7-8529AAD533F3}"/>
                </a:ext>
              </a:extLst>
            </p:cNvPr>
            <p:cNvGrpSpPr>
              <a:grpSpLocks noChangeAspect="1"/>
            </p:cNvGrpSpPr>
            <p:nvPr/>
          </p:nvGrpSpPr>
          <p:grpSpPr>
            <a:xfrm>
              <a:off x="4847165" y="4121483"/>
              <a:ext cx="365760" cy="365760"/>
              <a:chOff x="1382807" y="174388"/>
              <a:chExt cx="3025588" cy="3025588"/>
            </a:xfrm>
          </p:grpSpPr>
          <p:sp>
            <p:nvSpPr>
              <p:cNvPr id="97" name="Rectangle 96">
                <a:extLst>
                  <a:ext uri="{FF2B5EF4-FFF2-40B4-BE49-F238E27FC236}">
                    <a16:creationId xmlns:a16="http://schemas.microsoft.com/office/drawing/2014/main" id="{225BD2CF-AAAF-5131-8BFC-B46E1C5995E3}"/>
                  </a:ext>
                </a:extLst>
              </p:cNvPr>
              <p:cNvSpPr/>
              <p:nvPr/>
            </p:nvSpPr>
            <p:spPr>
              <a:xfrm>
                <a:off x="1382807" y="174388"/>
                <a:ext cx="3025588" cy="3025588"/>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white"/>
                  </a:solidFill>
                  <a:effectLst/>
                  <a:uLnTx/>
                  <a:uFillTx/>
                  <a:latin typeface="Verdana"/>
                  <a:ea typeface="+mn-ea"/>
                  <a:cs typeface="+mn-cs"/>
                </a:endParaRPr>
              </a:p>
            </p:txBody>
          </p:sp>
          <p:sp>
            <p:nvSpPr>
              <p:cNvPr id="98" name="Freeform 19">
                <a:extLst>
                  <a:ext uri="{FF2B5EF4-FFF2-40B4-BE49-F238E27FC236}">
                    <a16:creationId xmlns:a16="http://schemas.microsoft.com/office/drawing/2014/main" id="{5F05677D-ABBA-246B-548C-7DEE3B9774BE}"/>
                  </a:ext>
                </a:extLst>
              </p:cNvPr>
              <p:cNvSpPr/>
              <p:nvPr/>
            </p:nvSpPr>
            <p:spPr>
              <a:xfrm>
                <a:off x="2171931" y="775732"/>
                <a:ext cx="1424285" cy="1937622"/>
              </a:xfrm>
              <a:custGeom>
                <a:avLst/>
                <a:gdLst/>
                <a:ahLst/>
                <a:cxnLst/>
                <a:rect l="l" t="t" r="r" b="b"/>
                <a:pathLst>
                  <a:path w="1424285" h="1937622">
                    <a:moveTo>
                      <a:pt x="919851" y="0"/>
                    </a:moveTo>
                    <a:cubicBezTo>
                      <a:pt x="970295" y="0"/>
                      <a:pt x="1013320" y="1236"/>
                      <a:pt x="1048927" y="3709"/>
                    </a:cubicBezTo>
                    <a:cubicBezTo>
                      <a:pt x="1084534" y="6182"/>
                      <a:pt x="1112970" y="10138"/>
                      <a:pt x="1134236" y="15578"/>
                    </a:cubicBezTo>
                    <a:cubicBezTo>
                      <a:pt x="1155501" y="21018"/>
                      <a:pt x="1171079" y="27694"/>
                      <a:pt x="1180970" y="35607"/>
                    </a:cubicBezTo>
                    <a:cubicBezTo>
                      <a:pt x="1190861" y="43520"/>
                      <a:pt x="1195806" y="52916"/>
                      <a:pt x="1195806" y="63796"/>
                    </a:cubicBezTo>
                    <a:lnTo>
                      <a:pt x="1195806" y="1219544"/>
                    </a:lnTo>
                    <a:lnTo>
                      <a:pt x="1366424" y="1219544"/>
                    </a:lnTo>
                    <a:cubicBezTo>
                      <a:pt x="1382249" y="1219544"/>
                      <a:pt x="1395849" y="1231661"/>
                      <a:pt x="1407224" y="1255893"/>
                    </a:cubicBezTo>
                    <a:cubicBezTo>
                      <a:pt x="1418598" y="1280126"/>
                      <a:pt x="1424285" y="1320431"/>
                      <a:pt x="1424285" y="1376809"/>
                    </a:cubicBezTo>
                    <a:cubicBezTo>
                      <a:pt x="1424285" y="1427253"/>
                      <a:pt x="1419093" y="1465580"/>
                      <a:pt x="1408707" y="1491791"/>
                    </a:cubicBezTo>
                    <a:cubicBezTo>
                      <a:pt x="1398322" y="1518001"/>
                      <a:pt x="1384227" y="1531107"/>
                      <a:pt x="1366424" y="1531107"/>
                    </a:cubicBezTo>
                    <a:lnTo>
                      <a:pt x="1195806" y="1531107"/>
                    </a:lnTo>
                    <a:lnTo>
                      <a:pt x="1195806" y="1878276"/>
                    </a:lnTo>
                    <a:cubicBezTo>
                      <a:pt x="1195806" y="1888167"/>
                      <a:pt x="1192839" y="1896822"/>
                      <a:pt x="1186905" y="1904240"/>
                    </a:cubicBezTo>
                    <a:cubicBezTo>
                      <a:pt x="1180970" y="1911658"/>
                      <a:pt x="1170585" y="1917840"/>
                      <a:pt x="1155748" y="1922785"/>
                    </a:cubicBezTo>
                    <a:cubicBezTo>
                      <a:pt x="1140912" y="1927731"/>
                      <a:pt x="1121625" y="1931440"/>
                      <a:pt x="1097887" y="1933912"/>
                    </a:cubicBezTo>
                    <a:cubicBezTo>
                      <a:pt x="1074149" y="1936385"/>
                      <a:pt x="1043487" y="1937622"/>
                      <a:pt x="1005902" y="1937622"/>
                    </a:cubicBezTo>
                    <a:cubicBezTo>
                      <a:pt x="970295" y="1937622"/>
                      <a:pt x="940375" y="1936385"/>
                      <a:pt x="916142" y="1933912"/>
                    </a:cubicBezTo>
                    <a:cubicBezTo>
                      <a:pt x="891910" y="1931440"/>
                      <a:pt x="872622" y="1927731"/>
                      <a:pt x="858281" y="1922785"/>
                    </a:cubicBezTo>
                    <a:cubicBezTo>
                      <a:pt x="843939" y="1917840"/>
                      <a:pt x="834048" y="1911658"/>
                      <a:pt x="828608" y="1904240"/>
                    </a:cubicBezTo>
                    <a:cubicBezTo>
                      <a:pt x="823168" y="1896822"/>
                      <a:pt x="820448" y="1888167"/>
                      <a:pt x="820448" y="1878276"/>
                    </a:cubicBezTo>
                    <a:lnTo>
                      <a:pt x="820448" y="1531107"/>
                    </a:lnTo>
                    <a:lnTo>
                      <a:pt x="86051" y="1531107"/>
                    </a:lnTo>
                    <a:cubicBezTo>
                      <a:pt x="72204" y="1531107"/>
                      <a:pt x="59840" y="1529376"/>
                      <a:pt x="48960" y="1525914"/>
                    </a:cubicBezTo>
                    <a:cubicBezTo>
                      <a:pt x="38080" y="1522452"/>
                      <a:pt x="28931" y="1514540"/>
                      <a:pt x="21513" y="1502176"/>
                    </a:cubicBezTo>
                    <a:cubicBezTo>
                      <a:pt x="14095" y="1489812"/>
                      <a:pt x="8655" y="1472009"/>
                      <a:pt x="5193" y="1448765"/>
                    </a:cubicBezTo>
                    <a:cubicBezTo>
                      <a:pt x="1731" y="1425522"/>
                      <a:pt x="0" y="1394613"/>
                      <a:pt x="0" y="1356038"/>
                    </a:cubicBezTo>
                    <a:cubicBezTo>
                      <a:pt x="0" y="1324387"/>
                      <a:pt x="742" y="1296940"/>
                      <a:pt x="2226" y="1273697"/>
                    </a:cubicBezTo>
                    <a:cubicBezTo>
                      <a:pt x="3709" y="1250453"/>
                      <a:pt x="6182" y="1229435"/>
                      <a:pt x="9644" y="1210642"/>
                    </a:cubicBezTo>
                    <a:cubicBezTo>
                      <a:pt x="13106" y="1191850"/>
                      <a:pt x="18051" y="1174046"/>
                      <a:pt x="24480" y="1157232"/>
                    </a:cubicBezTo>
                    <a:cubicBezTo>
                      <a:pt x="30909" y="1140417"/>
                      <a:pt x="39069" y="1122614"/>
                      <a:pt x="48960" y="1103821"/>
                    </a:cubicBezTo>
                    <a:lnTo>
                      <a:pt x="645380" y="51927"/>
                    </a:lnTo>
                    <a:cubicBezTo>
                      <a:pt x="650325" y="43025"/>
                      <a:pt x="658732" y="35360"/>
                      <a:pt x="670601" y="28931"/>
                    </a:cubicBezTo>
                    <a:cubicBezTo>
                      <a:pt x="682470" y="22502"/>
                      <a:pt x="699038" y="17062"/>
                      <a:pt x="720303" y="12611"/>
                    </a:cubicBezTo>
                    <a:cubicBezTo>
                      <a:pt x="741568" y="8160"/>
                      <a:pt x="768521" y="4946"/>
                      <a:pt x="801161" y="2967"/>
                    </a:cubicBezTo>
                    <a:cubicBezTo>
                      <a:pt x="833801" y="989"/>
                      <a:pt x="873364" y="0"/>
                      <a:pt x="919851" y="0"/>
                    </a:cubicBezTo>
                    <a:close/>
                    <a:moveTo>
                      <a:pt x="817481" y="336784"/>
                    </a:moveTo>
                    <a:lnTo>
                      <a:pt x="311563" y="1219544"/>
                    </a:lnTo>
                    <a:lnTo>
                      <a:pt x="820448" y="1219544"/>
                    </a:lnTo>
                    <a:lnTo>
                      <a:pt x="820448" y="336784"/>
                    </a:lnTo>
                    <a:lnTo>
                      <a:pt x="817481" y="336784"/>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white"/>
                  </a:solidFill>
                  <a:effectLst/>
                  <a:uLnTx/>
                  <a:uFillTx/>
                  <a:latin typeface="Verdana"/>
                  <a:ea typeface="+mn-ea"/>
                  <a:cs typeface="+mn-cs"/>
                </a:endParaRPr>
              </a:p>
            </p:txBody>
          </p:sp>
          <p:sp>
            <p:nvSpPr>
              <p:cNvPr id="99" name="Freeform 20">
                <a:extLst>
                  <a:ext uri="{FF2B5EF4-FFF2-40B4-BE49-F238E27FC236}">
                    <a16:creationId xmlns:a16="http://schemas.microsoft.com/office/drawing/2014/main" id="{D7AB5400-6F2B-83AD-9CF4-F096A611B3F3}"/>
                  </a:ext>
                </a:extLst>
              </p:cNvPr>
              <p:cNvSpPr/>
              <p:nvPr/>
            </p:nvSpPr>
            <p:spPr>
              <a:xfrm>
                <a:off x="2222756" y="818764"/>
                <a:ext cx="2185638" cy="2381212"/>
              </a:xfrm>
              <a:custGeom>
                <a:avLst/>
                <a:gdLst>
                  <a:gd name="connsiteX0" fmla="*/ 766655 w 2185638"/>
                  <a:gd name="connsiteY0" fmla="*/ 293752 h 2381212"/>
                  <a:gd name="connsiteX1" fmla="*/ 769622 w 2185638"/>
                  <a:gd name="connsiteY1" fmla="*/ 293752 h 2381212"/>
                  <a:gd name="connsiteX2" fmla="*/ 769622 w 2185638"/>
                  <a:gd name="connsiteY2" fmla="*/ 1176512 h 2381212"/>
                  <a:gd name="connsiteX3" fmla="*/ 260737 w 2185638"/>
                  <a:gd name="connsiteY3" fmla="*/ 1176512 h 2381212"/>
                  <a:gd name="connsiteX4" fmla="*/ 1134051 w 2185638"/>
                  <a:gd name="connsiteY4" fmla="*/ 0 h 2381212"/>
                  <a:gd name="connsiteX5" fmla="*/ 2185638 w 2185638"/>
                  <a:gd name="connsiteY5" fmla="*/ 912217 h 2381212"/>
                  <a:gd name="connsiteX6" fmla="*/ 2185638 w 2185638"/>
                  <a:gd name="connsiteY6" fmla="*/ 2381212 h 2381212"/>
                  <a:gd name="connsiteX7" fmla="*/ 1035278 w 2185638"/>
                  <a:gd name="connsiteY7" fmla="*/ 2381212 h 2381212"/>
                  <a:gd name="connsiteX8" fmla="*/ 0 w 2185638"/>
                  <a:gd name="connsiteY8" fmla="*/ 1483143 h 2381212"/>
                  <a:gd name="connsiteX9" fmla="*/ 35224 w 2185638"/>
                  <a:gd name="connsiteY9" fmla="*/ 1488075 h 2381212"/>
                  <a:gd name="connsiteX10" fmla="*/ 769621 w 2185638"/>
                  <a:gd name="connsiteY10" fmla="*/ 1488075 h 2381212"/>
                  <a:gd name="connsiteX11" fmla="*/ 769621 w 2185638"/>
                  <a:gd name="connsiteY11" fmla="*/ 1835244 h 2381212"/>
                  <a:gd name="connsiteX12" fmla="*/ 777781 w 2185638"/>
                  <a:gd name="connsiteY12" fmla="*/ 1861208 h 2381212"/>
                  <a:gd name="connsiteX13" fmla="*/ 807454 w 2185638"/>
                  <a:gd name="connsiteY13" fmla="*/ 1879753 h 2381212"/>
                  <a:gd name="connsiteX14" fmla="*/ 865315 w 2185638"/>
                  <a:gd name="connsiteY14" fmla="*/ 1890880 h 2381212"/>
                  <a:gd name="connsiteX15" fmla="*/ 955075 w 2185638"/>
                  <a:gd name="connsiteY15" fmla="*/ 1894590 h 2381212"/>
                  <a:gd name="connsiteX16" fmla="*/ 1047060 w 2185638"/>
                  <a:gd name="connsiteY16" fmla="*/ 1890880 h 2381212"/>
                  <a:gd name="connsiteX17" fmla="*/ 1104921 w 2185638"/>
                  <a:gd name="connsiteY17" fmla="*/ 1879753 h 2381212"/>
                  <a:gd name="connsiteX18" fmla="*/ 1136078 w 2185638"/>
                  <a:gd name="connsiteY18" fmla="*/ 1861208 h 2381212"/>
                  <a:gd name="connsiteX19" fmla="*/ 1144979 w 2185638"/>
                  <a:gd name="connsiteY19" fmla="*/ 1835244 h 2381212"/>
                  <a:gd name="connsiteX20" fmla="*/ 1144979 w 2185638"/>
                  <a:gd name="connsiteY20" fmla="*/ 1488075 h 2381212"/>
                  <a:gd name="connsiteX21" fmla="*/ 1315597 w 2185638"/>
                  <a:gd name="connsiteY21" fmla="*/ 1488075 h 2381212"/>
                  <a:gd name="connsiteX22" fmla="*/ 1357880 w 2185638"/>
                  <a:gd name="connsiteY22" fmla="*/ 1448759 h 2381212"/>
                  <a:gd name="connsiteX23" fmla="*/ 1373458 w 2185638"/>
                  <a:gd name="connsiteY23" fmla="*/ 1333777 h 2381212"/>
                  <a:gd name="connsiteX24" fmla="*/ 1356397 w 2185638"/>
                  <a:gd name="connsiteY24" fmla="*/ 1212861 h 2381212"/>
                  <a:gd name="connsiteX25" fmla="*/ 1315597 w 2185638"/>
                  <a:gd name="connsiteY25" fmla="*/ 1176512 h 2381212"/>
                  <a:gd name="connsiteX26" fmla="*/ 1144979 w 2185638"/>
                  <a:gd name="connsiteY26" fmla="*/ 1176512 h 2381212"/>
                  <a:gd name="connsiteX27" fmla="*/ 1144979 w 2185638"/>
                  <a:gd name="connsiteY27" fmla="*/ 20764 h 2381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85638" h="2381212">
                    <a:moveTo>
                      <a:pt x="766655" y="293752"/>
                    </a:moveTo>
                    <a:lnTo>
                      <a:pt x="769622" y="293752"/>
                    </a:lnTo>
                    <a:lnTo>
                      <a:pt x="769622" y="1176512"/>
                    </a:lnTo>
                    <a:lnTo>
                      <a:pt x="260737" y="1176512"/>
                    </a:lnTo>
                    <a:close/>
                    <a:moveTo>
                      <a:pt x="1134051" y="0"/>
                    </a:moveTo>
                    <a:lnTo>
                      <a:pt x="2185638" y="912217"/>
                    </a:lnTo>
                    <a:lnTo>
                      <a:pt x="2185638" y="2381212"/>
                    </a:lnTo>
                    <a:lnTo>
                      <a:pt x="1035278" y="2381212"/>
                    </a:lnTo>
                    <a:lnTo>
                      <a:pt x="0" y="1483143"/>
                    </a:lnTo>
                    <a:lnTo>
                      <a:pt x="35224" y="1488075"/>
                    </a:lnTo>
                    <a:lnTo>
                      <a:pt x="769621" y="1488075"/>
                    </a:lnTo>
                    <a:lnTo>
                      <a:pt x="769621" y="1835244"/>
                    </a:lnTo>
                    <a:cubicBezTo>
                      <a:pt x="769621" y="1845135"/>
                      <a:pt x="772341" y="1853790"/>
                      <a:pt x="777781" y="1861208"/>
                    </a:cubicBezTo>
                    <a:cubicBezTo>
                      <a:pt x="783221" y="1868626"/>
                      <a:pt x="793112" y="1874808"/>
                      <a:pt x="807454" y="1879753"/>
                    </a:cubicBezTo>
                    <a:cubicBezTo>
                      <a:pt x="821795" y="1884699"/>
                      <a:pt x="841083" y="1888408"/>
                      <a:pt x="865315" y="1890880"/>
                    </a:cubicBezTo>
                    <a:cubicBezTo>
                      <a:pt x="889548" y="1893353"/>
                      <a:pt x="919468" y="1894590"/>
                      <a:pt x="955075" y="1894590"/>
                    </a:cubicBezTo>
                    <a:cubicBezTo>
                      <a:pt x="992660" y="1894590"/>
                      <a:pt x="1023322" y="1893353"/>
                      <a:pt x="1047060" y="1890880"/>
                    </a:cubicBezTo>
                    <a:cubicBezTo>
                      <a:pt x="1070798" y="1888408"/>
                      <a:pt x="1090085" y="1884699"/>
                      <a:pt x="1104921" y="1879753"/>
                    </a:cubicBezTo>
                    <a:cubicBezTo>
                      <a:pt x="1119758" y="1874808"/>
                      <a:pt x="1130143" y="1868626"/>
                      <a:pt x="1136078" y="1861208"/>
                    </a:cubicBezTo>
                    <a:cubicBezTo>
                      <a:pt x="1142012" y="1853790"/>
                      <a:pt x="1144979" y="1845135"/>
                      <a:pt x="1144979" y="1835244"/>
                    </a:cubicBezTo>
                    <a:lnTo>
                      <a:pt x="1144979" y="1488075"/>
                    </a:lnTo>
                    <a:lnTo>
                      <a:pt x="1315597" y="1488075"/>
                    </a:lnTo>
                    <a:cubicBezTo>
                      <a:pt x="1333400" y="1488075"/>
                      <a:pt x="1347495" y="1474969"/>
                      <a:pt x="1357880" y="1448759"/>
                    </a:cubicBezTo>
                    <a:cubicBezTo>
                      <a:pt x="1368266" y="1422548"/>
                      <a:pt x="1373458" y="1384221"/>
                      <a:pt x="1373458" y="1333777"/>
                    </a:cubicBezTo>
                    <a:cubicBezTo>
                      <a:pt x="1373458" y="1277399"/>
                      <a:pt x="1367771" y="1237094"/>
                      <a:pt x="1356397" y="1212861"/>
                    </a:cubicBezTo>
                    <a:cubicBezTo>
                      <a:pt x="1345022" y="1188629"/>
                      <a:pt x="1331422" y="1176512"/>
                      <a:pt x="1315597" y="1176512"/>
                    </a:cubicBezTo>
                    <a:lnTo>
                      <a:pt x="1144979" y="1176512"/>
                    </a:lnTo>
                    <a:lnTo>
                      <a:pt x="1144979" y="20764"/>
                    </a:lnTo>
                    <a:close/>
                  </a:path>
                </a:pathLst>
              </a:custGeom>
              <a:solidFill>
                <a:srgbClr val="0000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white"/>
                  </a:solidFill>
                  <a:effectLst/>
                  <a:uLnTx/>
                  <a:uFillTx/>
                  <a:latin typeface="Verdana"/>
                  <a:ea typeface="+mn-ea"/>
                  <a:cs typeface="+mn-cs"/>
                </a:endParaRPr>
              </a:p>
            </p:txBody>
          </p:sp>
        </p:grpSp>
        <p:sp>
          <p:nvSpPr>
            <p:cNvPr id="96" name="TextBox 95">
              <a:extLst>
                <a:ext uri="{FF2B5EF4-FFF2-40B4-BE49-F238E27FC236}">
                  <a16:creationId xmlns:a16="http://schemas.microsoft.com/office/drawing/2014/main" id="{B4F29B8E-A293-623A-52D4-FC65AC12932A}"/>
                </a:ext>
              </a:extLst>
            </p:cNvPr>
            <p:cNvSpPr txBox="1"/>
            <p:nvPr/>
          </p:nvSpPr>
          <p:spPr>
            <a:xfrm>
              <a:off x="5241600" y="3964689"/>
              <a:ext cx="2551990" cy="7438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Verdana"/>
                  <a:ea typeface="+mn-ea"/>
                  <a:cs typeface="+mn-cs"/>
                </a:rPr>
                <a:t>Capgemini Intelligent Automation Platform</a:t>
              </a:r>
              <a:r>
                <a:rPr kumimoji="0" lang="en-US" sz="1000" b="0" i="0" u="none" strike="noStrike" kern="1200" cap="none" spc="0" normalizeH="0" baseline="0" noProof="0">
                  <a:ln>
                    <a:noFill/>
                  </a:ln>
                  <a:solidFill>
                    <a:srgbClr val="000000"/>
                  </a:solidFill>
                  <a:effectLst/>
                  <a:uLnTx/>
                  <a:uFillTx/>
                  <a:latin typeface="Verdana"/>
                  <a:ea typeface="+mn-ea"/>
                  <a:cs typeface="+mn-cs"/>
                </a:rPr>
                <a:t> (CIAP) with 3,700+ re-usable workflows </a:t>
              </a:r>
              <a:r>
                <a:rPr kumimoji="0" lang="en-US" sz="900" b="0" i="0" u="none" strike="noStrike" kern="1200" cap="none" spc="0" normalizeH="0" baseline="0" noProof="0">
                  <a:ln>
                    <a:noFill/>
                  </a:ln>
                  <a:solidFill>
                    <a:srgbClr val="000000"/>
                  </a:solidFill>
                  <a:effectLst/>
                  <a:uLnTx/>
                  <a:uFillTx/>
                  <a:latin typeface="Verdana"/>
                  <a:ea typeface="+mn-ea"/>
                  <a:cs typeface="+mn-cs"/>
                </a:rPr>
                <a:t>(we can also existing tools such as IPSoft)</a:t>
              </a:r>
              <a:endParaRPr kumimoji="0" lang="en-US" sz="1000" b="0" i="0" u="none" strike="noStrike" kern="1200" cap="none" spc="0" normalizeH="0" baseline="0" noProof="0">
                <a:ln>
                  <a:noFill/>
                </a:ln>
                <a:solidFill>
                  <a:srgbClr val="000000"/>
                </a:solidFill>
                <a:effectLst/>
                <a:uLnTx/>
                <a:uFillTx/>
                <a:latin typeface="Verdana"/>
                <a:ea typeface="+mn-ea"/>
                <a:cs typeface="+mn-cs"/>
              </a:endParaRPr>
            </a:p>
          </p:txBody>
        </p:sp>
      </p:grpSp>
      <p:grpSp>
        <p:nvGrpSpPr>
          <p:cNvPr id="100" name="Group 99">
            <a:extLst>
              <a:ext uri="{FF2B5EF4-FFF2-40B4-BE49-F238E27FC236}">
                <a16:creationId xmlns:a16="http://schemas.microsoft.com/office/drawing/2014/main" id="{20FFBB8F-FC66-B9A7-02BD-82715CD15BA6}"/>
              </a:ext>
            </a:extLst>
          </p:cNvPr>
          <p:cNvGrpSpPr/>
          <p:nvPr/>
        </p:nvGrpSpPr>
        <p:grpSpPr>
          <a:xfrm>
            <a:off x="8016043" y="4594915"/>
            <a:ext cx="2431984" cy="553998"/>
            <a:chOff x="4847165" y="4849715"/>
            <a:chExt cx="2513511" cy="595049"/>
          </a:xfrm>
        </p:grpSpPr>
        <p:grpSp>
          <p:nvGrpSpPr>
            <p:cNvPr id="101" name="Group 100">
              <a:extLst>
                <a:ext uri="{FF2B5EF4-FFF2-40B4-BE49-F238E27FC236}">
                  <a16:creationId xmlns:a16="http://schemas.microsoft.com/office/drawing/2014/main" id="{4D495D24-D6EC-8707-CCF7-65F21783873C}"/>
                </a:ext>
              </a:extLst>
            </p:cNvPr>
            <p:cNvGrpSpPr>
              <a:grpSpLocks noChangeAspect="1"/>
            </p:cNvGrpSpPr>
            <p:nvPr/>
          </p:nvGrpSpPr>
          <p:grpSpPr>
            <a:xfrm>
              <a:off x="4847165" y="4983206"/>
              <a:ext cx="365760" cy="365760"/>
              <a:chOff x="1382806" y="3668806"/>
              <a:chExt cx="3025589" cy="3025589"/>
            </a:xfrm>
          </p:grpSpPr>
          <p:sp>
            <p:nvSpPr>
              <p:cNvPr id="103" name="Rectangle 102">
                <a:extLst>
                  <a:ext uri="{FF2B5EF4-FFF2-40B4-BE49-F238E27FC236}">
                    <a16:creationId xmlns:a16="http://schemas.microsoft.com/office/drawing/2014/main" id="{52E59732-8746-16EB-3B18-0EF960A4A163}"/>
                  </a:ext>
                </a:extLst>
              </p:cNvPr>
              <p:cNvSpPr/>
              <p:nvPr/>
            </p:nvSpPr>
            <p:spPr>
              <a:xfrm>
                <a:off x="1382806" y="3668806"/>
                <a:ext cx="3025588" cy="3025588"/>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white"/>
                  </a:solidFill>
                  <a:effectLst/>
                  <a:uLnTx/>
                  <a:uFillTx/>
                  <a:latin typeface="Verdana"/>
                  <a:ea typeface="+mn-ea"/>
                  <a:cs typeface="+mn-cs"/>
                </a:endParaRPr>
              </a:p>
            </p:txBody>
          </p:sp>
          <p:sp>
            <p:nvSpPr>
              <p:cNvPr id="104" name="Freeform 23">
                <a:extLst>
                  <a:ext uri="{FF2B5EF4-FFF2-40B4-BE49-F238E27FC236}">
                    <a16:creationId xmlns:a16="http://schemas.microsoft.com/office/drawing/2014/main" id="{AC32FC53-CB61-1C99-460A-6465D2BD6CD1}"/>
                  </a:ext>
                </a:extLst>
              </p:cNvPr>
              <p:cNvSpPr/>
              <p:nvPr/>
            </p:nvSpPr>
            <p:spPr>
              <a:xfrm>
                <a:off x="2260945" y="4279053"/>
                <a:ext cx="1258119" cy="1953941"/>
              </a:xfrm>
              <a:custGeom>
                <a:avLst/>
                <a:gdLst/>
                <a:ahLst/>
                <a:cxnLst/>
                <a:rect l="l" t="t" r="r" b="b"/>
                <a:pathLst>
                  <a:path w="1258119" h="1953941">
                    <a:moveTo>
                      <a:pt x="172101" y="0"/>
                    </a:moveTo>
                    <a:lnTo>
                      <a:pt x="1081567" y="0"/>
                    </a:lnTo>
                    <a:cubicBezTo>
                      <a:pt x="1090468" y="0"/>
                      <a:pt x="1098876" y="2967"/>
                      <a:pt x="1106788" y="8902"/>
                    </a:cubicBezTo>
                    <a:cubicBezTo>
                      <a:pt x="1114701" y="14836"/>
                      <a:pt x="1121377" y="24233"/>
                      <a:pt x="1126817" y="37091"/>
                    </a:cubicBezTo>
                    <a:cubicBezTo>
                      <a:pt x="1132257" y="49949"/>
                      <a:pt x="1136214" y="67011"/>
                      <a:pt x="1138686" y="88276"/>
                    </a:cubicBezTo>
                    <a:cubicBezTo>
                      <a:pt x="1141159" y="109541"/>
                      <a:pt x="1142396" y="135010"/>
                      <a:pt x="1142396" y="164683"/>
                    </a:cubicBezTo>
                    <a:cubicBezTo>
                      <a:pt x="1142396" y="224028"/>
                      <a:pt x="1137203" y="267053"/>
                      <a:pt x="1126817" y="293759"/>
                    </a:cubicBezTo>
                    <a:cubicBezTo>
                      <a:pt x="1116432" y="320464"/>
                      <a:pt x="1101348" y="333817"/>
                      <a:pt x="1081567" y="333817"/>
                    </a:cubicBezTo>
                    <a:lnTo>
                      <a:pt x="399097" y="333817"/>
                    </a:lnTo>
                    <a:lnTo>
                      <a:pt x="399097" y="744782"/>
                    </a:lnTo>
                    <a:cubicBezTo>
                      <a:pt x="433715" y="740826"/>
                      <a:pt x="468086" y="738353"/>
                      <a:pt x="502209" y="737364"/>
                    </a:cubicBezTo>
                    <a:cubicBezTo>
                      <a:pt x="536333" y="736375"/>
                      <a:pt x="572187" y="735881"/>
                      <a:pt x="609772" y="735881"/>
                    </a:cubicBezTo>
                    <a:cubicBezTo>
                      <a:pt x="713626" y="735881"/>
                      <a:pt x="805859" y="747997"/>
                      <a:pt x="886469" y="772230"/>
                    </a:cubicBezTo>
                    <a:cubicBezTo>
                      <a:pt x="967080" y="796462"/>
                      <a:pt x="1034832" y="832069"/>
                      <a:pt x="1089727" y="879051"/>
                    </a:cubicBezTo>
                    <a:cubicBezTo>
                      <a:pt x="1144621" y="926033"/>
                      <a:pt x="1186410" y="984389"/>
                      <a:pt x="1215093" y="1054119"/>
                    </a:cubicBezTo>
                    <a:cubicBezTo>
                      <a:pt x="1243777" y="1123850"/>
                      <a:pt x="1258119" y="1204708"/>
                      <a:pt x="1258119" y="1296693"/>
                    </a:cubicBezTo>
                    <a:cubicBezTo>
                      <a:pt x="1258119" y="1400547"/>
                      <a:pt x="1240068" y="1493274"/>
                      <a:pt x="1203966" y="1574874"/>
                    </a:cubicBezTo>
                    <a:cubicBezTo>
                      <a:pt x="1167865" y="1656473"/>
                      <a:pt x="1116926" y="1725215"/>
                      <a:pt x="1051152" y="1781098"/>
                    </a:cubicBezTo>
                    <a:cubicBezTo>
                      <a:pt x="985378" y="1836982"/>
                      <a:pt x="906251" y="1879760"/>
                      <a:pt x="813771" y="1909432"/>
                    </a:cubicBezTo>
                    <a:cubicBezTo>
                      <a:pt x="721292" y="1939105"/>
                      <a:pt x="618674" y="1953941"/>
                      <a:pt x="505918" y="1953941"/>
                    </a:cubicBezTo>
                    <a:cubicBezTo>
                      <a:pt x="446573" y="1953941"/>
                      <a:pt x="390195" y="1950232"/>
                      <a:pt x="336784" y="1942814"/>
                    </a:cubicBezTo>
                    <a:cubicBezTo>
                      <a:pt x="283374" y="1935396"/>
                      <a:pt x="235403" y="1925999"/>
                      <a:pt x="192872" y="1914625"/>
                    </a:cubicBezTo>
                    <a:cubicBezTo>
                      <a:pt x="150341" y="1903250"/>
                      <a:pt x="115476" y="1891876"/>
                      <a:pt x="88276" y="1880502"/>
                    </a:cubicBezTo>
                    <a:cubicBezTo>
                      <a:pt x="61076" y="1869127"/>
                      <a:pt x="43273" y="1859731"/>
                      <a:pt x="34865" y="1852313"/>
                    </a:cubicBezTo>
                    <a:cubicBezTo>
                      <a:pt x="26458" y="1844894"/>
                      <a:pt x="20276" y="1836734"/>
                      <a:pt x="16320" y="1827833"/>
                    </a:cubicBezTo>
                    <a:cubicBezTo>
                      <a:pt x="12364" y="1818931"/>
                      <a:pt x="9149" y="1808298"/>
                      <a:pt x="6677" y="1795935"/>
                    </a:cubicBezTo>
                    <a:cubicBezTo>
                      <a:pt x="4204" y="1783571"/>
                      <a:pt x="2473" y="1767993"/>
                      <a:pt x="1484" y="1749200"/>
                    </a:cubicBezTo>
                    <a:cubicBezTo>
                      <a:pt x="495" y="1730408"/>
                      <a:pt x="0" y="1708153"/>
                      <a:pt x="0" y="1682437"/>
                    </a:cubicBezTo>
                    <a:cubicBezTo>
                      <a:pt x="0" y="1654742"/>
                      <a:pt x="989" y="1631252"/>
                      <a:pt x="2967" y="1611964"/>
                    </a:cubicBezTo>
                    <a:cubicBezTo>
                      <a:pt x="4946" y="1592677"/>
                      <a:pt x="8160" y="1577099"/>
                      <a:pt x="12611" y="1565230"/>
                    </a:cubicBezTo>
                    <a:cubicBezTo>
                      <a:pt x="17062" y="1553361"/>
                      <a:pt x="22255" y="1544954"/>
                      <a:pt x="28189" y="1540008"/>
                    </a:cubicBezTo>
                    <a:cubicBezTo>
                      <a:pt x="34124" y="1535063"/>
                      <a:pt x="41047" y="1532590"/>
                      <a:pt x="48960" y="1532590"/>
                    </a:cubicBezTo>
                    <a:cubicBezTo>
                      <a:pt x="58851" y="1532590"/>
                      <a:pt x="73934" y="1538277"/>
                      <a:pt x="94211" y="1549652"/>
                    </a:cubicBezTo>
                    <a:cubicBezTo>
                      <a:pt x="114487" y="1561026"/>
                      <a:pt x="141192" y="1573637"/>
                      <a:pt x="174327" y="1587485"/>
                    </a:cubicBezTo>
                    <a:cubicBezTo>
                      <a:pt x="207461" y="1601332"/>
                      <a:pt x="247766" y="1613943"/>
                      <a:pt x="295243" y="1625317"/>
                    </a:cubicBezTo>
                    <a:cubicBezTo>
                      <a:pt x="342719" y="1636691"/>
                      <a:pt x="399591" y="1642379"/>
                      <a:pt x="465860" y="1642379"/>
                    </a:cubicBezTo>
                    <a:cubicBezTo>
                      <a:pt x="523227" y="1642379"/>
                      <a:pt x="575402" y="1636444"/>
                      <a:pt x="622383" y="1624575"/>
                    </a:cubicBezTo>
                    <a:cubicBezTo>
                      <a:pt x="669365" y="1612706"/>
                      <a:pt x="709176" y="1593666"/>
                      <a:pt x="741815" y="1567456"/>
                    </a:cubicBezTo>
                    <a:cubicBezTo>
                      <a:pt x="774455" y="1541245"/>
                      <a:pt x="799677" y="1508357"/>
                      <a:pt x="817481" y="1468794"/>
                    </a:cubicBezTo>
                    <a:cubicBezTo>
                      <a:pt x="835284" y="1429231"/>
                      <a:pt x="844186" y="1381754"/>
                      <a:pt x="844186" y="1326365"/>
                    </a:cubicBezTo>
                    <a:cubicBezTo>
                      <a:pt x="844186" y="1278889"/>
                      <a:pt x="836768" y="1236606"/>
                      <a:pt x="821931" y="1199515"/>
                    </a:cubicBezTo>
                    <a:cubicBezTo>
                      <a:pt x="807095" y="1162424"/>
                      <a:pt x="783852" y="1131021"/>
                      <a:pt x="752201" y="1105305"/>
                    </a:cubicBezTo>
                    <a:cubicBezTo>
                      <a:pt x="720550" y="1079588"/>
                      <a:pt x="679503" y="1060301"/>
                      <a:pt x="629059" y="1047443"/>
                    </a:cubicBezTo>
                    <a:cubicBezTo>
                      <a:pt x="578616" y="1034585"/>
                      <a:pt x="517293" y="1028156"/>
                      <a:pt x="445089" y="1028156"/>
                    </a:cubicBezTo>
                    <a:cubicBezTo>
                      <a:pt x="387722" y="1028156"/>
                      <a:pt x="335548" y="1031123"/>
                      <a:pt x="288566" y="1037058"/>
                    </a:cubicBezTo>
                    <a:cubicBezTo>
                      <a:pt x="241585" y="1042992"/>
                      <a:pt x="197323" y="1045959"/>
                      <a:pt x="155781" y="1045959"/>
                    </a:cubicBezTo>
                    <a:cubicBezTo>
                      <a:pt x="127098" y="1045959"/>
                      <a:pt x="106574" y="1038789"/>
                      <a:pt x="94211" y="1024447"/>
                    </a:cubicBezTo>
                    <a:cubicBezTo>
                      <a:pt x="81847" y="1010105"/>
                      <a:pt x="75665" y="983647"/>
                      <a:pt x="75665" y="945073"/>
                    </a:cubicBezTo>
                    <a:lnTo>
                      <a:pt x="75665" y="111272"/>
                    </a:lnTo>
                    <a:cubicBezTo>
                      <a:pt x="75665" y="71709"/>
                      <a:pt x="83331" y="43272"/>
                      <a:pt x="98662" y="25964"/>
                    </a:cubicBezTo>
                    <a:cubicBezTo>
                      <a:pt x="113992" y="8655"/>
                      <a:pt x="138472" y="0"/>
                      <a:pt x="172101"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white"/>
                  </a:solidFill>
                  <a:effectLst/>
                  <a:uLnTx/>
                  <a:uFillTx/>
                  <a:latin typeface="Verdana"/>
                  <a:ea typeface="+mn-ea"/>
                  <a:cs typeface="+mn-cs"/>
                </a:endParaRPr>
              </a:p>
            </p:txBody>
          </p:sp>
          <p:sp>
            <p:nvSpPr>
              <p:cNvPr id="105" name="Freeform 24">
                <a:extLst>
                  <a:ext uri="{FF2B5EF4-FFF2-40B4-BE49-F238E27FC236}">
                    <a16:creationId xmlns:a16="http://schemas.microsoft.com/office/drawing/2014/main" id="{B9C78C26-48FD-3FF4-816A-612AD3243B6D}"/>
                  </a:ext>
                </a:extLst>
              </p:cNvPr>
              <p:cNvSpPr/>
              <p:nvPr/>
            </p:nvSpPr>
            <p:spPr>
              <a:xfrm>
                <a:off x="2325672" y="4294612"/>
                <a:ext cx="2082723" cy="2399783"/>
              </a:xfrm>
              <a:custGeom>
                <a:avLst/>
                <a:gdLst>
                  <a:gd name="connsiteX0" fmla="*/ 380362 w 2082723"/>
                  <a:gd name="connsiteY0" fmla="*/ 1012596 h 2399783"/>
                  <a:gd name="connsiteX1" fmla="*/ 564332 w 2082723"/>
                  <a:gd name="connsiteY1" fmla="*/ 1031883 h 2399783"/>
                  <a:gd name="connsiteX2" fmla="*/ 687474 w 2082723"/>
                  <a:gd name="connsiteY2" fmla="*/ 1089745 h 2399783"/>
                  <a:gd name="connsiteX3" fmla="*/ 757204 w 2082723"/>
                  <a:gd name="connsiteY3" fmla="*/ 1183955 h 2399783"/>
                  <a:gd name="connsiteX4" fmla="*/ 779459 w 2082723"/>
                  <a:gd name="connsiteY4" fmla="*/ 1310805 h 2399783"/>
                  <a:gd name="connsiteX5" fmla="*/ 752754 w 2082723"/>
                  <a:gd name="connsiteY5" fmla="*/ 1453234 h 2399783"/>
                  <a:gd name="connsiteX6" fmla="*/ 677088 w 2082723"/>
                  <a:gd name="connsiteY6" fmla="*/ 1551896 h 2399783"/>
                  <a:gd name="connsiteX7" fmla="*/ 666374 w 2082723"/>
                  <a:gd name="connsiteY7" fmla="*/ 1558588 h 2399783"/>
                  <a:gd name="connsiteX8" fmla="*/ 42518 w 2082723"/>
                  <a:gd name="connsiteY8" fmla="*/ 1017413 h 2399783"/>
                  <a:gd name="connsiteX9" fmla="*/ 54149 w 2082723"/>
                  <a:gd name="connsiteY9" fmla="*/ 1025021 h 2399783"/>
                  <a:gd name="connsiteX10" fmla="*/ 91054 w 2082723"/>
                  <a:gd name="connsiteY10" fmla="*/ 1030399 h 2399783"/>
                  <a:gd name="connsiteX11" fmla="*/ 223839 w 2082723"/>
                  <a:gd name="connsiteY11" fmla="*/ 1021498 h 2399783"/>
                  <a:gd name="connsiteX12" fmla="*/ 380362 w 2082723"/>
                  <a:gd name="connsiteY12" fmla="*/ 1012596 h 2399783"/>
                  <a:gd name="connsiteX13" fmla="*/ 1046791 w 2082723"/>
                  <a:gd name="connsiteY13" fmla="*/ 0 h 2399783"/>
                  <a:gd name="connsiteX14" fmla="*/ 2082723 w 2082723"/>
                  <a:gd name="connsiteY14" fmla="*/ 898637 h 2399783"/>
                  <a:gd name="connsiteX15" fmla="*/ 2082723 w 2082723"/>
                  <a:gd name="connsiteY15" fmla="*/ 2399783 h 2399783"/>
                  <a:gd name="connsiteX16" fmla="*/ 629084 w 2082723"/>
                  <a:gd name="connsiteY16" fmla="*/ 2399783 h 2399783"/>
                  <a:gd name="connsiteX17" fmla="*/ 0 w 2082723"/>
                  <a:gd name="connsiteY17" fmla="*/ 1854074 h 2399783"/>
                  <a:gd name="connsiteX18" fmla="*/ 23549 w 2082723"/>
                  <a:gd name="connsiteY18" fmla="*/ 1864943 h 2399783"/>
                  <a:gd name="connsiteX19" fmla="*/ 128145 w 2082723"/>
                  <a:gd name="connsiteY19" fmla="*/ 1899066 h 2399783"/>
                  <a:gd name="connsiteX20" fmla="*/ 272057 w 2082723"/>
                  <a:gd name="connsiteY20" fmla="*/ 1927255 h 2399783"/>
                  <a:gd name="connsiteX21" fmla="*/ 441191 w 2082723"/>
                  <a:gd name="connsiteY21" fmla="*/ 1938382 h 2399783"/>
                  <a:gd name="connsiteX22" fmla="*/ 749044 w 2082723"/>
                  <a:gd name="connsiteY22" fmla="*/ 1893873 h 2399783"/>
                  <a:gd name="connsiteX23" fmla="*/ 986425 w 2082723"/>
                  <a:gd name="connsiteY23" fmla="*/ 1765539 h 2399783"/>
                  <a:gd name="connsiteX24" fmla="*/ 1139239 w 2082723"/>
                  <a:gd name="connsiteY24" fmla="*/ 1559315 h 2399783"/>
                  <a:gd name="connsiteX25" fmla="*/ 1193392 w 2082723"/>
                  <a:gd name="connsiteY25" fmla="*/ 1281134 h 2399783"/>
                  <a:gd name="connsiteX26" fmla="*/ 1150366 w 2082723"/>
                  <a:gd name="connsiteY26" fmla="*/ 1038560 h 2399783"/>
                  <a:gd name="connsiteX27" fmla="*/ 1025000 w 2082723"/>
                  <a:gd name="connsiteY27" fmla="*/ 863492 h 2399783"/>
                  <a:gd name="connsiteX28" fmla="*/ 821742 w 2082723"/>
                  <a:gd name="connsiteY28" fmla="*/ 756671 h 2399783"/>
                  <a:gd name="connsiteX29" fmla="*/ 545045 w 2082723"/>
                  <a:gd name="connsiteY29" fmla="*/ 720322 h 2399783"/>
                  <a:gd name="connsiteX30" fmla="*/ 437482 w 2082723"/>
                  <a:gd name="connsiteY30" fmla="*/ 721805 h 2399783"/>
                  <a:gd name="connsiteX31" fmla="*/ 334370 w 2082723"/>
                  <a:gd name="connsiteY31" fmla="*/ 729223 h 2399783"/>
                  <a:gd name="connsiteX32" fmla="*/ 334370 w 2082723"/>
                  <a:gd name="connsiteY32" fmla="*/ 318258 h 2399783"/>
                  <a:gd name="connsiteX33" fmla="*/ 1016840 w 2082723"/>
                  <a:gd name="connsiteY33" fmla="*/ 318258 h 2399783"/>
                  <a:gd name="connsiteX34" fmla="*/ 1062090 w 2082723"/>
                  <a:gd name="connsiteY34" fmla="*/ 278200 h 2399783"/>
                  <a:gd name="connsiteX35" fmla="*/ 1077669 w 2082723"/>
                  <a:gd name="connsiteY35" fmla="*/ 149124 h 2399783"/>
                  <a:gd name="connsiteX36" fmla="*/ 1073959 w 2082723"/>
                  <a:gd name="connsiteY36" fmla="*/ 72717 h 2399783"/>
                  <a:gd name="connsiteX37" fmla="*/ 1062090 w 2082723"/>
                  <a:gd name="connsiteY37" fmla="*/ 21532 h 2399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082723" h="2399783">
                    <a:moveTo>
                      <a:pt x="380362" y="1012596"/>
                    </a:moveTo>
                    <a:cubicBezTo>
                      <a:pt x="452566" y="1012596"/>
                      <a:pt x="513889" y="1019025"/>
                      <a:pt x="564332" y="1031883"/>
                    </a:cubicBezTo>
                    <a:cubicBezTo>
                      <a:pt x="614776" y="1044741"/>
                      <a:pt x="655823" y="1064028"/>
                      <a:pt x="687474" y="1089745"/>
                    </a:cubicBezTo>
                    <a:cubicBezTo>
                      <a:pt x="719125" y="1115461"/>
                      <a:pt x="742368" y="1146864"/>
                      <a:pt x="757204" y="1183955"/>
                    </a:cubicBezTo>
                    <a:cubicBezTo>
                      <a:pt x="772041" y="1221046"/>
                      <a:pt x="779459" y="1263329"/>
                      <a:pt x="779459" y="1310805"/>
                    </a:cubicBezTo>
                    <a:cubicBezTo>
                      <a:pt x="779459" y="1366194"/>
                      <a:pt x="770557" y="1413671"/>
                      <a:pt x="752754" y="1453234"/>
                    </a:cubicBezTo>
                    <a:cubicBezTo>
                      <a:pt x="734950" y="1492797"/>
                      <a:pt x="709728" y="1525685"/>
                      <a:pt x="677088" y="1551896"/>
                    </a:cubicBezTo>
                    <a:lnTo>
                      <a:pt x="666374" y="1558588"/>
                    </a:lnTo>
                    <a:lnTo>
                      <a:pt x="42518" y="1017413"/>
                    </a:lnTo>
                    <a:lnTo>
                      <a:pt x="54149" y="1025021"/>
                    </a:lnTo>
                    <a:cubicBezTo>
                      <a:pt x="64411" y="1028607"/>
                      <a:pt x="76713" y="1030399"/>
                      <a:pt x="91054" y="1030399"/>
                    </a:cubicBezTo>
                    <a:cubicBezTo>
                      <a:pt x="132596" y="1030399"/>
                      <a:pt x="176858" y="1027432"/>
                      <a:pt x="223839" y="1021498"/>
                    </a:cubicBezTo>
                    <a:cubicBezTo>
                      <a:pt x="270821" y="1015563"/>
                      <a:pt x="322995" y="1012596"/>
                      <a:pt x="380362" y="1012596"/>
                    </a:cubicBezTo>
                    <a:close/>
                    <a:moveTo>
                      <a:pt x="1046791" y="0"/>
                    </a:moveTo>
                    <a:lnTo>
                      <a:pt x="2082723" y="898637"/>
                    </a:lnTo>
                    <a:lnTo>
                      <a:pt x="2082723" y="2399783"/>
                    </a:lnTo>
                    <a:lnTo>
                      <a:pt x="629084" y="2399783"/>
                    </a:lnTo>
                    <a:lnTo>
                      <a:pt x="0" y="1854074"/>
                    </a:lnTo>
                    <a:lnTo>
                      <a:pt x="23549" y="1864943"/>
                    </a:lnTo>
                    <a:cubicBezTo>
                      <a:pt x="50749" y="1876317"/>
                      <a:pt x="85614" y="1887691"/>
                      <a:pt x="128145" y="1899066"/>
                    </a:cubicBezTo>
                    <a:cubicBezTo>
                      <a:pt x="170676" y="1910440"/>
                      <a:pt x="218647" y="1919837"/>
                      <a:pt x="272057" y="1927255"/>
                    </a:cubicBezTo>
                    <a:cubicBezTo>
                      <a:pt x="325468" y="1934673"/>
                      <a:pt x="381846" y="1938382"/>
                      <a:pt x="441191" y="1938382"/>
                    </a:cubicBezTo>
                    <a:cubicBezTo>
                      <a:pt x="553947" y="1938382"/>
                      <a:pt x="656565" y="1923546"/>
                      <a:pt x="749044" y="1893873"/>
                    </a:cubicBezTo>
                    <a:cubicBezTo>
                      <a:pt x="841524" y="1864201"/>
                      <a:pt x="920651" y="1821423"/>
                      <a:pt x="986425" y="1765539"/>
                    </a:cubicBezTo>
                    <a:cubicBezTo>
                      <a:pt x="1052199" y="1709656"/>
                      <a:pt x="1103138" y="1640914"/>
                      <a:pt x="1139239" y="1559315"/>
                    </a:cubicBezTo>
                    <a:cubicBezTo>
                      <a:pt x="1175341" y="1477715"/>
                      <a:pt x="1193392" y="1384988"/>
                      <a:pt x="1193392" y="1281134"/>
                    </a:cubicBezTo>
                    <a:cubicBezTo>
                      <a:pt x="1193392" y="1189149"/>
                      <a:pt x="1179050" y="1108291"/>
                      <a:pt x="1150366" y="1038560"/>
                    </a:cubicBezTo>
                    <a:cubicBezTo>
                      <a:pt x="1121683" y="968830"/>
                      <a:pt x="1079894" y="910474"/>
                      <a:pt x="1025000" y="863492"/>
                    </a:cubicBezTo>
                    <a:cubicBezTo>
                      <a:pt x="970105" y="816510"/>
                      <a:pt x="902353" y="780903"/>
                      <a:pt x="821742" y="756671"/>
                    </a:cubicBezTo>
                    <a:cubicBezTo>
                      <a:pt x="741132" y="732438"/>
                      <a:pt x="648899" y="720322"/>
                      <a:pt x="545045" y="720322"/>
                    </a:cubicBezTo>
                    <a:cubicBezTo>
                      <a:pt x="507460" y="720322"/>
                      <a:pt x="471606" y="720816"/>
                      <a:pt x="437482" y="721805"/>
                    </a:cubicBezTo>
                    <a:cubicBezTo>
                      <a:pt x="403359" y="722794"/>
                      <a:pt x="368988" y="725267"/>
                      <a:pt x="334370" y="729223"/>
                    </a:cubicBezTo>
                    <a:lnTo>
                      <a:pt x="334370" y="318258"/>
                    </a:lnTo>
                    <a:lnTo>
                      <a:pt x="1016840" y="318258"/>
                    </a:lnTo>
                    <a:cubicBezTo>
                      <a:pt x="1036621" y="318258"/>
                      <a:pt x="1051705" y="304905"/>
                      <a:pt x="1062090" y="278200"/>
                    </a:cubicBezTo>
                    <a:cubicBezTo>
                      <a:pt x="1072476" y="251494"/>
                      <a:pt x="1077669" y="208469"/>
                      <a:pt x="1077669" y="149124"/>
                    </a:cubicBezTo>
                    <a:cubicBezTo>
                      <a:pt x="1077669" y="119451"/>
                      <a:pt x="1076432" y="93982"/>
                      <a:pt x="1073959" y="72717"/>
                    </a:cubicBezTo>
                    <a:cubicBezTo>
                      <a:pt x="1071487" y="51452"/>
                      <a:pt x="1067530" y="34390"/>
                      <a:pt x="1062090" y="21532"/>
                    </a:cubicBezTo>
                    <a:close/>
                  </a:path>
                </a:pathLst>
              </a:custGeom>
              <a:solidFill>
                <a:srgbClr val="0000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white"/>
                  </a:solidFill>
                  <a:effectLst/>
                  <a:uLnTx/>
                  <a:uFillTx/>
                  <a:latin typeface="Verdana"/>
                  <a:ea typeface="+mn-ea"/>
                  <a:cs typeface="+mn-cs"/>
                </a:endParaRPr>
              </a:p>
            </p:txBody>
          </p:sp>
        </p:grpSp>
        <p:sp>
          <p:nvSpPr>
            <p:cNvPr id="102" name="TextBox 101">
              <a:extLst>
                <a:ext uri="{FF2B5EF4-FFF2-40B4-BE49-F238E27FC236}">
                  <a16:creationId xmlns:a16="http://schemas.microsoft.com/office/drawing/2014/main" id="{0F3411C2-77ED-EB1D-EBDD-D02C49E5F951}"/>
                </a:ext>
              </a:extLst>
            </p:cNvPr>
            <p:cNvSpPr txBox="1"/>
            <p:nvPr/>
          </p:nvSpPr>
          <p:spPr>
            <a:xfrm>
              <a:off x="5241600" y="4849715"/>
              <a:ext cx="2119076" cy="59504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Verdana"/>
                  <a:ea typeface="+mn-ea"/>
                  <a:cs typeface="+mn-cs"/>
                </a:rPr>
                <a:t>Proactive Problem Management with SWAT Team, KM Portal and KeDB</a:t>
              </a:r>
            </a:p>
          </p:txBody>
        </p:sp>
      </p:grpSp>
      <p:pic>
        <p:nvPicPr>
          <p:cNvPr id="106" name="Object 31">
            <a:extLst>
              <a:ext uri="{FF2B5EF4-FFF2-40B4-BE49-F238E27FC236}">
                <a16:creationId xmlns:a16="http://schemas.microsoft.com/office/drawing/2014/main" id="{CA37DC7D-1498-241A-3B07-2A6837CEABD6}"/>
              </a:ext>
            </a:extLst>
          </p:cNvPr>
          <p:cNvPicPr/>
          <p:nvPr/>
        </p:nvPicPr>
        <p:blipFill rotWithShape="1">
          <a:blip r:embed="rId5" cstate="email"/>
          <a:srcRect t="18053" r="56971" b="36041"/>
          <a:stretch/>
        </p:blipFill>
        <p:spPr bwMode="auto">
          <a:xfrm>
            <a:off x="10538582" y="4618554"/>
            <a:ext cx="1096329" cy="520880"/>
          </a:xfrm>
          <a:prstGeom prst="rect">
            <a:avLst/>
          </a:prstGeom>
          <a:noFill/>
          <a:ln w="9525">
            <a:noFill/>
            <a:miter lim="800000"/>
            <a:headEnd/>
            <a:tailEnd/>
          </a:ln>
        </p:spPr>
      </p:pic>
      <p:sp>
        <p:nvSpPr>
          <p:cNvPr id="107" name="Rectangle 106">
            <a:extLst>
              <a:ext uri="{FF2B5EF4-FFF2-40B4-BE49-F238E27FC236}">
                <a16:creationId xmlns:a16="http://schemas.microsoft.com/office/drawing/2014/main" id="{47AA1516-DCE1-CAA0-A2C7-4068F0C64FDC}"/>
              </a:ext>
            </a:extLst>
          </p:cNvPr>
          <p:cNvSpPr/>
          <p:nvPr/>
        </p:nvSpPr>
        <p:spPr>
          <a:xfrm>
            <a:off x="7838990" y="2237906"/>
            <a:ext cx="3892859" cy="6653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Verdana"/>
              <a:ea typeface="+mn-ea"/>
              <a:cs typeface="+mn-cs"/>
            </a:endParaRPr>
          </a:p>
        </p:txBody>
      </p:sp>
      <p:sp>
        <p:nvSpPr>
          <p:cNvPr id="108" name="Rectangle 107">
            <a:extLst>
              <a:ext uri="{FF2B5EF4-FFF2-40B4-BE49-F238E27FC236}">
                <a16:creationId xmlns:a16="http://schemas.microsoft.com/office/drawing/2014/main" id="{FEE3809B-5A95-BCB7-7DD4-B019A8351E82}"/>
              </a:ext>
            </a:extLst>
          </p:cNvPr>
          <p:cNvSpPr/>
          <p:nvPr/>
        </p:nvSpPr>
        <p:spPr>
          <a:xfrm>
            <a:off x="7873460" y="2977365"/>
            <a:ext cx="3892859" cy="6653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Verdana"/>
              <a:ea typeface="+mn-ea"/>
              <a:cs typeface="+mn-cs"/>
            </a:endParaRPr>
          </a:p>
        </p:txBody>
      </p:sp>
      <p:sp>
        <p:nvSpPr>
          <p:cNvPr id="109" name="Rectangle 108">
            <a:extLst>
              <a:ext uri="{FF2B5EF4-FFF2-40B4-BE49-F238E27FC236}">
                <a16:creationId xmlns:a16="http://schemas.microsoft.com/office/drawing/2014/main" id="{220E62D0-FC49-E042-7F2A-5600445786A1}"/>
              </a:ext>
            </a:extLst>
          </p:cNvPr>
          <p:cNvSpPr/>
          <p:nvPr/>
        </p:nvSpPr>
        <p:spPr>
          <a:xfrm>
            <a:off x="7848670" y="3721366"/>
            <a:ext cx="3892859" cy="6653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Verdana"/>
              <a:ea typeface="+mn-ea"/>
              <a:cs typeface="+mn-cs"/>
            </a:endParaRPr>
          </a:p>
        </p:txBody>
      </p:sp>
      <p:sp>
        <p:nvSpPr>
          <p:cNvPr id="110" name="Rectangle 109">
            <a:extLst>
              <a:ext uri="{FF2B5EF4-FFF2-40B4-BE49-F238E27FC236}">
                <a16:creationId xmlns:a16="http://schemas.microsoft.com/office/drawing/2014/main" id="{03CA9CA4-6BEE-E921-5C8C-7CE702106AB2}"/>
              </a:ext>
            </a:extLst>
          </p:cNvPr>
          <p:cNvSpPr/>
          <p:nvPr/>
        </p:nvSpPr>
        <p:spPr>
          <a:xfrm>
            <a:off x="7894947" y="4482288"/>
            <a:ext cx="3892859" cy="6653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Verdana"/>
              <a:ea typeface="+mn-ea"/>
              <a:cs typeface="+mn-cs"/>
            </a:endParaRPr>
          </a:p>
        </p:txBody>
      </p:sp>
      <p:sp>
        <p:nvSpPr>
          <p:cNvPr id="117" name="Isosceles Triangle 116">
            <a:extLst>
              <a:ext uri="{FF2B5EF4-FFF2-40B4-BE49-F238E27FC236}">
                <a16:creationId xmlns:a16="http://schemas.microsoft.com/office/drawing/2014/main" id="{FBB70A76-F690-457C-ED9A-0228642338E7}"/>
              </a:ext>
            </a:extLst>
          </p:cNvPr>
          <p:cNvSpPr/>
          <p:nvPr/>
        </p:nvSpPr>
        <p:spPr>
          <a:xfrm rot="5400000">
            <a:off x="7464247" y="2113179"/>
            <a:ext cx="457200" cy="137160"/>
          </a:xfrm>
          <a:prstGeom prst="triangle">
            <a:avLst/>
          </a:prstGeom>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Verdana"/>
              <a:ea typeface="+mn-ea"/>
              <a:cs typeface="+mn-cs"/>
            </a:endParaRPr>
          </a:p>
        </p:txBody>
      </p:sp>
      <p:sp>
        <p:nvSpPr>
          <p:cNvPr id="118" name="Isosceles Triangle 117">
            <a:extLst>
              <a:ext uri="{FF2B5EF4-FFF2-40B4-BE49-F238E27FC236}">
                <a16:creationId xmlns:a16="http://schemas.microsoft.com/office/drawing/2014/main" id="{3DEBDCFF-A328-0DC7-C042-F89F05F833F3}"/>
              </a:ext>
            </a:extLst>
          </p:cNvPr>
          <p:cNvSpPr/>
          <p:nvPr/>
        </p:nvSpPr>
        <p:spPr>
          <a:xfrm rot="5400000">
            <a:off x="7464247" y="2965239"/>
            <a:ext cx="457200" cy="137160"/>
          </a:xfrm>
          <a:prstGeom prst="triangle">
            <a:avLst/>
          </a:prstGeom>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Verdana"/>
              <a:ea typeface="+mn-ea"/>
              <a:cs typeface="+mn-cs"/>
            </a:endParaRPr>
          </a:p>
        </p:txBody>
      </p:sp>
      <p:sp>
        <p:nvSpPr>
          <p:cNvPr id="119" name="Isosceles Triangle 118">
            <a:extLst>
              <a:ext uri="{FF2B5EF4-FFF2-40B4-BE49-F238E27FC236}">
                <a16:creationId xmlns:a16="http://schemas.microsoft.com/office/drawing/2014/main" id="{BE137FE9-4AB2-BB86-9A17-C248D6EB7BA5}"/>
              </a:ext>
            </a:extLst>
          </p:cNvPr>
          <p:cNvSpPr/>
          <p:nvPr/>
        </p:nvSpPr>
        <p:spPr>
          <a:xfrm rot="5400000">
            <a:off x="7464247" y="3817299"/>
            <a:ext cx="457200" cy="137160"/>
          </a:xfrm>
          <a:prstGeom prst="triangle">
            <a:avLst/>
          </a:prstGeom>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Verdana"/>
              <a:ea typeface="+mn-ea"/>
              <a:cs typeface="+mn-cs"/>
            </a:endParaRPr>
          </a:p>
        </p:txBody>
      </p:sp>
      <p:pic>
        <p:nvPicPr>
          <p:cNvPr id="121" name="Picture 120">
            <a:extLst>
              <a:ext uri="{FF2B5EF4-FFF2-40B4-BE49-F238E27FC236}">
                <a16:creationId xmlns:a16="http://schemas.microsoft.com/office/drawing/2014/main" id="{1F43FFFC-7F4D-45BB-AE0B-AC38D2E67997}"/>
              </a:ext>
            </a:extLst>
          </p:cNvPr>
          <p:cNvPicPr>
            <a:picLocks noChangeAspect="1"/>
          </p:cNvPicPr>
          <p:nvPr/>
        </p:nvPicPr>
        <p:blipFill>
          <a:blip r:embed="rId6"/>
          <a:stretch>
            <a:fillRect/>
          </a:stretch>
        </p:blipFill>
        <p:spPr>
          <a:xfrm>
            <a:off x="11069857" y="3843645"/>
            <a:ext cx="604436" cy="586037"/>
          </a:xfrm>
          <a:prstGeom prst="rect">
            <a:avLst/>
          </a:prstGeom>
        </p:spPr>
      </p:pic>
      <p:pic>
        <p:nvPicPr>
          <p:cNvPr id="122" name="Picture 121">
            <a:extLst>
              <a:ext uri="{FF2B5EF4-FFF2-40B4-BE49-F238E27FC236}">
                <a16:creationId xmlns:a16="http://schemas.microsoft.com/office/drawing/2014/main" id="{8B1867ED-E721-0D3B-4F7D-FA1FC95516FC}"/>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0831101" y="3098962"/>
            <a:ext cx="803495" cy="479117"/>
          </a:xfrm>
          <a:prstGeom prst="rect">
            <a:avLst/>
          </a:prstGeom>
        </p:spPr>
      </p:pic>
      <p:pic>
        <p:nvPicPr>
          <p:cNvPr id="123" name="Picture 122" descr="Graphical user interface, timeline&#10;&#10;Description automatically generated">
            <a:extLst>
              <a:ext uri="{FF2B5EF4-FFF2-40B4-BE49-F238E27FC236}">
                <a16:creationId xmlns:a16="http://schemas.microsoft.com/office/drawing/2014/main" id="{C33D2C48-0135-D73F-BA2A-69100FAF906D}"/>
              </a:ext>
            </a:extLst>
          </p:cNvPr>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7285399" y="5641070"/>
            <a:ext cx="1176121" cy="686979"/>
          </a:xfrm>
          <a:prstGeom prst="rect">
            <a:avLst/>
          </a:prstGeom>
        </p:spPr>
      </p:pic>
      <p:pic>
        <p:nvPicPr>
          <p:cNvPr id="124" name="Picture 123" descr="Chart, funnel chart&#10;&#10;Description automatically generated">
            <a:extLst>
              <a:ext uri="{FF2B5EF4-FFF2-40B4-BE49-F238E27FC236}">
                <a16:creationId xmlns:a16="http://schemas.microsoft.com/office/drawing/2014/main" id="{EDD26D20-C01C-12B0-6F72-B8AE5E3EFB51}"/>
              </a:ext>
            </a:extLst>
          </p:cNvPr>
          <p:cNvPicPr>
            <a:picLocks noChangeAspect="1"/>
          </p:cNvPicPr>
          <p:nvPr/>
        </p:nvPicPr>
        <p:blipFill>
          <a:blip r:embed="rId9" cstate="email">
            <a:extLst>
              <a:ext uri="{28A0092B-C50C-407E-A947-70E740481C1C}">
                <a14:useLocalDpi xmlns:a14="http://schemas.microsoft.com/office/drawing/2010/main" val="0"/>
              </a:ext>
            </a:extLst>
          </a:blip>
          <a:stretch>
            <a:fillRect/>
          </a:stretch>
        </p:blipFill>
        <p:spPr>
          <a:xfrm>
            <a:off x="5974654" y="5603581"/>
            <a:ext cx="1176121" cy="736354"/>
          </a:xfrm>
          <a:prstGeom prst="rect">
            <a:avLst/>
          </a:prstGeom>
        </p:spPr>
      </p:pic>
      <p:pic>
        <p:nvPicPr>
          <p:cNvPr id="125" name="Picture 124" descr="Chart, bar chart&#10;&#10;Description automatically generated">
            <a:extLst>
              <a:ext uri="{FF2B5EF4-FFF2-40B4-BE49-F238E27FC236}">
                <a16:creationId xmlns:a16="http://schemas.microsoft.com/office/drawing/2014/main" id="{83A8D469-F54B-7D36-CEE4-18EC0C11654B}"/>
              </a:ext>
            </a:extLst>
          </p:cNvPr>
          <p:cNvPicPr>
            <a:picLocks noChangeAspect="1"/>
          </p:cNvPicPr>
          <p:nvPr/>
        </p:nvPicPr>
        <p:blipFill>
          <a:blip r:embed="rId10" cstate="email">
            <a:extLst>
              <a:ext uri="{28A0092B-C50C-407E-A947-70E740481C1C}">
                <a14:useLocalDpi xmlns:a14="http://schemas.microsoft.com/office/drawing/2010/main" val="0"/>
              </a:ext>
            </a:extLst>
          </a:blip>
          <a:stretch>
            <a:fillRect/>
          </a:stretch>
        </p:blipFill>
        <p:spPr>
          <a:xfrm>
            <a:off x="8569877" y="5637358"/>
            <a:ext cx="1266667" cy="686978"/>
          </a:xfrm>
          <a:prstGeom prst="rect">
            <a:avLst/>
          </a:prstGeom>
        </p:spPr>
      </p:pic>
      <p:sp>
        <p:nvSpPr>
          <p:cNvPr id="126" name="Rectangle 125">
            <a:extLst>
              <a:ext uri="{FF2B5EF4-FFF2-40B4-BE49-F238E27FC236}">
                <a16:creationId xmlns:a16="http://schemas.microsoft.com/office/drawing/2014/main" id="{00380631-0730-AF74-00FD-64530B509909}"/>
              </a:ext>
            </a:extLst>
          </p:cNvPr>
          <p:cNvSpPr/>
          <p:nvPr/>
        </p:nvSpPr>
        <p:spPr>
          <a:xfrm>
            <a:off x="116910" y="1191907"/>
            <a:ext cx="2850757" cy="5303475"/>
          </a:xfrm>
          <a:prstGeom prst="rect">
            <a:avLst/>
          </a:prstGeom>
          <a:solidFill>
            <a:schemeClr val="bg1">
              <a:lumMod val="95000"/>
            </a:schemeClr>
          </a:solidFill>
          <a:ln w="635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a:ln>
                <a:noFill/>
              </a:ln>
              <a:solidFill>
                <a:srgbClr val="000000"/>
              </a:solidFill>
              <a:effectLst/>
              <a:uLnTx/>
              <a:uFillTx/>
              <a:latin typeface="Ubuntu"/>
              <a:ea typeface="+mn-ea"/>
              <a:cs typeface="+mn-cs"/>
            </a:endParaRPr>
          </a:p>
        </p:txBody>
      </p:sp>
      <p:sp>
        <p:nvSpPr>
          <p:cNvPr id="127" name="Rectangle 126">
            <a:extLst>
              <a:ext uri="{FF2B5EF4-FFF2-40B4-BE49-F238E27FC236}">
                <a16:creationId xmlns:a16="http://schemas.microsoft.com/office/drawing/2014/main" id="{D2267D96-1FEE-33D6-7ED8-88A65E82984D}"/>
              </a:ext>
            </a:extLst>
          </p:cNvPr>
          <p:cNvSpPr/>
          <p:nvPr/>
        </p:nvSpPr>
        <p:spPr>
          <a:xfrm>
            <a:off x="602585" y="1445329"/>
            <a:ext cx="1587226" cy="253916"/>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200"/>
              </a:spcAft>
              <a:buClrTx/>
              <a:buSzTx/>
              <a:buFontTx/>
              <a:buNone/>
              <a:tabLst/>
              <a:defRPr/>
            </a:pPr>
            <a:r>
              <a:rPr kumimoji="0" lang="en-US" sz="1050" b="1" i="0" u="none" strike="noStrike" kern="0" cap="none" spc="0" normalizeH="0" baseline="0" noProof="0">
                <a:ln>
                  <a:noFill/>
                </a:ln>
                <a:solidFill>
                  <a:srgbClr val="ED771A">
                    <a:lumMod val="75000"/>
                  </a:srgbClr>
                </a:solidFill>
                <a:effectLst/>
                <a:uLnTx/>
                <a:uFillTx/>
                <a:latin typeface="Ubuntu"/>
                <a:ea typeface="+mn-ea"/>
                <a:cs typeface="Arial" pitchFamily="34" charset="0"/>
              </a:rPr>
              <a:t>SCOPE HIGHLIGHTS</a:t>
            </a:r>
          </a:p>
        </p:txBody>
      </p:sp>
      <p:grpSp>
        <p:nvGrpSpPr>
          <p:cNvPr id="131" name="Group 130">
            <a:extLst>
              <a:ext uri="{FF2B5EF4-FFF2-40B4-BE49-F238E27FC236}">
                <a16:creationId xmlns:a16="http://schemas.microsoft.com/office/drawing/2014/main" id="{161D1886-95F3-BC6D-7B6F-E52BD46E6161}"/>
              </a:ext>
            </a:extLst>
          </p:cNvPr>
          <p:cNvGrpSpPr/>
          <p:nvPr/>
        </p:nvGrpSpPr>
        <p:grpSpPr>
          <a:xfrm>
            <a:off x="249897" y="2039424"/>
            <a:ext cx="2550989" cy="1959748"/>
            <a:chOff x="9221954" y="2849438"/>
            <a:chExt cx="2308881" cy="1605691"/>
          </a:xfrm>
        </p:grpSpPr>
        <p:sp>
          <p:nvSpPr>
            <p:cNvPr id="142" name="Retângulo 6">
              <a:extLst>
                <a:ext uri="{FF2B5EF4-FFF2-40B4-BE49-F238E27FC236}">
                  <a16:creationId xmlns:a16="http://schemas.microsoft.com/office/drawing/2014/main" id="{FC5BE679-04F2-DCD5-EB6F-DDC85C419A38}"/>
                </a:ext>
              </a:extLst>
            </p:cNvPr>
            <p:cNvSpPr/>
            <p:nvPr/>
          </p:nvSpPr>
          <p:spPr>
            <a:xfrm>
              <a:off x="9227804" y="3792154"/>
              <a:ext cx="2301651" cy="303083"/>
            </a:xfrm>
            <a:prstGeom prst="rect">
              <a:avLst/>
            </a:prstGeom>
            <a:solidFill>
              <a:schemeClr val="bg1">
                <a:lumMod val="50000"/>
              </a:schemeClr>
            </a:solidFill>
            <a:ln w="25400" cap="flat" cmpd="sng" algn="ctr">
              <a:noFill/>
              <a:prstDash val="solid"/>
            </a:ln>
            <a:effectLst/>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50" b="1" i="0" u="none" strike="noStrike" kern="0" cap="none" spc="0" normalizeH="0" baseline="0" noProof="0">
                  <a:ln>
                    <a:noFill/>
                  </a:ln>
                  <a:solidFill>
                    <a:prstClr val="white"/>
                  </a:solidFill>
                  <a:effectLst/>
                  <a:uLnTx/>
                  <a:uFillTx/>
                  <a:latin typeface="Ubuntu"/>
                  <a:ea typeface="+mn-ea"/>
                  <a:cs typeface="+mn-cs"/>
                </a:rPr>
                <a:t>ITSM</a:t>
              </a:r>
            </a:p>
          </p:txBody>
        </p:sp>
        <p:grpSp>
          <p:nvGrpSpPr>
            <p:cNvPr id="133" name="Group 132">
              <a:extLst>
                <a:ext uri="{FF2B5EF4-FFF2-40B4-BE49-F238E27FC236}">
                  <a16:creationId xmlns:a16="http://schemas.microsoft.com/office/drawing/2014/main" id="{7F3EAA54-3626-7627-E5E4-C6032D575253}"/>
                </a:ext>
              </a:extLst>
            </p:cNvPr>
            <p:cNvGrpSpPr/>
            <p:nvPr/>
          </p:nvGrpSpPr>
          <p:grpSpPr>
            <a:xfrm>
              <a:off x="9221954" y="2849438"/>
              <a:ext cx="2308881" cy="1605691"/>
              <a:chOff x="8871248" y="2085242"/>
              <a:chExt cx="2952579" cy="2295696"/>
            </a:xfrm>
          </p:grpSpPr>
          <p:sp>
            <p:nvSpPr>
              <p:cNvPr id="138" name="Retângulo 41">
                <a:extLst>
                  <a:ext uri="{FF2B5EF4-FFF2-40B4-BE49-F238E27FC236}">
                    <a16:creationId xmlns:a16="http://schemas.microsoft.com/office/drawing/2014/main" id="{7F882FAD-8C5E-3597-3807-D27A62E79B64}"/>
                  </a:ext>
                </a:extLst>
              </p:cNvPr>
              <p:cNvSpPr/>
              <p:nvPr/>
            </p:nvSpPr>
            <p:spPr>
              <a:xfrm>
                <a:off x="8871248" y="2085242"/>
                <a:ext cx="2952579" cy="2295696"/>
              </a:xfrm>
              <a:prstGeom prst="rect">
                <a:avLst/>
              </a:prstGeom>
              <a:noFill/>
              <a:ln w="28575" cap="flat" cmpd="sng" algn="ctr">
                <a:solidFill>
                  <a:schemeClr val="accent2"/>
                </a:solid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050" b="0" i="0" u="none" strike="noStrike" kern="0" cap="none" spc="0" normalizeH="0" baseline="0" noProof="0">
                  <a:ln>
                    <a:noFill/>
                  </a:ln>
                  <a:solidFill>
                    <a:prstClr val="black"/>
                  </a:solidFill>
                  <a:effectLst/>
                  <a:uLnTx/>
                  <a:uFillTx/>
                  <a:latin typeface="Ubuntu"/>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050" b="0" i="0" u="none" strike="noStrike" kern="0" cap="none" spc="0" normalizeH="0" baseline="0" noProof="0">
                  <a:ln>
                    <a:noFill/>
                  </a:ln>
                  <a:solidFill>
                    <a:prstClr val="black"/>
                  </a:solidFill>
                  <a:effectLst/>
                  <a:uLnTx/>
                  <a:uFillTx/>
                  <a:latin typeface="Ubuntu"/>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050" b="0" i="0" u="none" strike="noStrike" kern="0" cap="none" spc="0" normalizeH="0" baseline="0" noProof="0">
                  <a:ln>
                    <a:noFill/>
                  </a:ln>
                  <a:solidFill>
                    <a:prstClr val="black"/>
                  </a:solidFill>
                  <a:effectLst/>
                  <a:uLnTx/>
                  <a:uFillTx/>
                  <a:latin typeface="Ubuntu"/>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pt-PT" sz="1050" b="0" i="0" u="none" strike="noStrike" kern="0" cap="none" spc="0" normalizeH="0" baseline="0" noProof="0">
                  <a:ln>
                    <a:noFill/>
                  </a:ln>
                  <a:solidFill>
                    <a:prstClr val="black"/>
                  </a:solidFill>
                  <a:effectLst/>
                  <a:uLnTx/>
                  <a:uFillTx/>
                  <a:latin typeface="Ubuntu"/>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pt-PT" sz="1050" b="0" i="0" u="none" strike="noStrike" kern="0" cap="none" spc="0" normalizeH="0" baseline="0" noProof="0">
                    <a:ln>
                      <a:noFill/>
                    </a:ln>
                    <a:solidFill>
                      <a:prstClr val="black"/>
                    </a:solidFill>
                    <a:effectLst/>
                    <a:uLnTx/>
                    <a:uFillTx/>
                    <a:latin typeface="Ubuntu"/>
                    <a:ea typeface="+mn-ea"/>
                    <a:cs typeface="+mn-cs"/>
                  </a:rPr>
                  <a:t>147 applications across Finance, HR, Communication, Risk, Complianc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pt-PT" sz="1050" b="0" i="0" u="none" strike="noStrike" kern="0" cap="none" spc="0" normalizeH="0" baseline="0" noProof="0">
                    <a:ln>
                      <a:noFill/>
                    </a:ln>
                    <a:solidFill>
                      <a:prstClr val="black"/>
                    </a:solidFill>
                    <a:effectLst/>
                    <a:uLnTx/>
                    <a:uFillTx/>
                    <a:latin typeface="Ubuntu"/>
                    <a:ea typeface="+mn-ea"/>
                    <a:cs typeface="+mn-cs"/>
                  </a:rPr>
                  <a:t>32% productivity improvement in 3.5 yea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pt-PT" sz="1050" b="0" i="0" u="none" strike="noStrike" kern="0" cap="none" spc="0" normalizeH="0" baseline="0" noProof="0">
                  <a:ln>
                    <a:noFill/>
                  </a:ln>
                  <a:solidFill>
                    <a:prstClr val="black"/>
                  </a:solidFill>
                  <a:effectLst/>
                  <a:uLnTx/>
                  <a:uFillTx/>
                  <a:latin typeface="Ubuntu"/>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pt-PT" sz="1050" b="0" i="0" u="none" strike="noStrike" kern="0" cap="none" spc="0" normalizeH="0" baseline="0" noProof="0">
                  <a:ln>
                    <a:noFill/>
                  </a:ln>
                  <a:solidFill>
                    <a:prstClr val="black"/>
                  </a:solidFill>
                  <a:effectLst/>
                  <a:uLnTx/>
                  <a:uFillTx/>
                  <a:latin typeface="Ubuntu"/>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pt-PT" sz="1050" b="0" i="0" u="none" strike="noStrike" kern="0" cap="none" spc="0" normalizeH="0" baseline="0" noProof="0">
                  <a:ln>
                    <a:noFill/>
                  </a:ln>
                  <a:solidFill>
                    <a:prstClr val="black"/>
                  </a:solidFill>
                  <a:effectLst/>
                  <a:uLnTx/>
                  <a:uFillTx/>
                  <a:latin typeface="Ubuntu"/>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pt-PT" sz="1050" b="0" i="0" u="none" strike="noStrike" kern="0" cap="none" spc="0" normalizeH="0" baseline="0" noProof="0">
                    <a:ln>
                      <a:noFill/>
                    </a:ln>
                    <a:solidFill>
                      <a:prstClr val="black"/>
                    </a:solidFill>
                    <a:effectLst/>
                    <a:uLnTx/>
                    <a:uFillTx/>
                    <a:latin typeface="Ubuntu"/>
                    <a:ea typeface="+mn-ea"/>
                    <a:cs typeface="+mn-cs"/>
                  </a:rPr>
                  <a:t>9 processes across 3 workstream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pt-PT" sz="1050" b="0" i="0" u="none" strike="noStrike" kern="0" cap="none" spc="0" normalizeH="0" baseline="0" noProof="0">
                  <a:ln>
                    <a:noFill/>
                  </a:ln>
                  <a:solidFill>
                    <a:prstClr val="black"/>
                  </a:solidFill>
                  <a:effectLst/>
                  <a:uLnTx/>
                  <a:uFillTx/>
                  <a:latin typeface="Ubuntu"/>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pt-PT" sz="1050" b="0" i="0" u="none" strike="noStrike" kern="0" cap="none" spc="0" normalizeH="0" baseline="0" noProof="0">
                  <a:ln>
                    <a:noFill/>
                  </a:ln>
                  <a:solidFill>
                    <a:prstClr val="black"/>
                  </a:solidFill>
                  <a:effectLst/>
                  <a:uLnTx/>
                  <a:uFillTx/>
                  <a:latin typeface="Ubuntu"/>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pt-PT" sz="1050" b="0" i="0" u="none" strike="noStrike" kern="0" cap="none" spc="0" normalizeH="0" baseline="0" noProof="0">
                  <a:ln>
                    <a:noFill/>
                  </a:ln>
                  <a:solidFill>
                    <a:prstClr val="black"/>
                  </a:solidFill>
                  <a:effectLst/>
                  <a:uLnTx/>
                  <a:uFillTx/>
                  <a:latin typeface="Ubuntu"/>
                  <a:ea typeface="+mn-ea"/>
                  <a:cs typeface="+mn-cs"/>
                </a:endParaRPr>
              </a:p>
            </p:txBody>
          </p:sp>
          <p:sp>
            <p:nvSpPr>
              <p:cNvPr id="140" name="Retângulo 6">
                <a:extLst>
                  <a:ext uri="{FF2B5EF4-FFF2-40B4-BE49-F238E27FC236}">
                    <a16:creationId xmlns:a16="http://schemas.microsoft.com/office/drawing/2014/main" id="{27C02AD0-984F-747C-8B8E-724D4B505A58}"/>
                  </a:ext>
                </a:extLst>
              </p:cNvPr>
              <p:cNvSpPr/>
              <p:nvPr/>
            </p:nvSpPr>
            <p:spPr>
              <a:xfrm>
                <a:off x="8878727" y="2100533"/>
                <a:ext cx="2943333" cy="422020"/>
              </a:xfrm>
              <a:prstGeom prst="rect">
                <a:avLst/>
              </a:prstGeom>
              <a:solidFill>
                <a:schemeClr val="accent2"/>
              </a:solidFill>
              <a:ln w="25400" cap="flat" cmpd="sng" algn="ctr">
                <a:noFill/>
                <a:prstDash val="solid"/>
              </a:ln>
              <a:effectLst/>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50" b="1" i="0" u="none" strike="noStrike" kern="0" cap="none" spc="0" normalizeH="0" baseline="0" noProof="0">
                    <a:ln>
                      <a:noFill/>
                    </a:ln>
                    <a:solidFill>
                      <a:prstClr val="white"/>
                    </a:solidFill>
                    <a:effectLst/>
                    <a:uLnTx/>
                    <a:uFillTx/>
                    <a:latin typeface="Ubuntu"/>
                    <a:ea typeface="+mn-ea"/>
                    <a:cs typeface="+mn-cs"/>
                  </a:rPr>
                  <a:t>Corporate Applications Support</a:t>
                </a:r>
              </a:p>
            </p:txBody>
          </p:sp>
        </p:grpSp>
      </p:grpSp>
      <p:grpSp>
        <p:nvGrpSpPr>
          <p:cNvPr id="128" name="Group 127">
            <a:extLst>
              <a:ext uri="{FF2B5EF4-FFF2-40B4-BE49-F238E27FC236}">
                <a16:creationId xmlns:a16="http://schemas.microsoft.com/office/drawing/2014/main" id="{6538BB73-EB5D-E5F6-06AA-7D50F67ECED8}"/>
              </a:ext>
            </a:extLst>
          </p:cNvPr>
          <p:cNvGrpSpPr/>
          <p:nvPr/>
        </p:nvGrpSpPr>
        <p:grpSpPr>
          <a:xfrm>
            <a:off x="286710" y="1362204"/>
            <a:ext cx="442370" cy="447329"/>
            <a:chOff x="9932469" y="1612597"/>
            <a:chExt cx="731520" cy="731520"/>
          </a:xfrm>
        </p:grpSpPr>
        <p:sp>
          <p:nvSpPr>
            <p:cNvPr id="129" name="Oval 128">
              <a:extLst>
                <a:ext uri="{FF2B5EF4-FFF2-40B4-BE49-F238E27FC236}">
                  <a16:creationId xmlns:a16="http://schemas.microsoft.com/office/drawing/2014/main" id="{E0FF85DE-E7DF-6134-0988-FC27B6868262}"/>
                </a:ext>
              </a:extLst>
            </p:cNvPr>
            <p:cNvSpPr/>
            <p:nvPr/>
          </p:nvSpPr>
          <p:spPr>
            <a:xfrm>
              <a:off x="9932469" y="1612597"/>
              <a:ext cx="731520" cy="731520"/>
            </a:xfrm>
            <a:prstGeom prst="ellipse">
              <a:avLst/>
            </a:prstGeom>
            <a:solidFill>
              <a:sysClr val="window" lastClr="FFFFFF"/>
            </a:solidFill>
            <a:ln w="38100" cap="flat" cmpd="sng" algn="ctr">
              <a:solidFill>
                <a:srgbClr val="ED771A">
                  <a:lumMod val="7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200"/>
                </a:spcAft>
                <a:buClrTx/>
                <a:buSzTx/>
                <a:buFontTx/>
                <a:buNone/>
                <a:tabLst/>
                <a:defRPr/>
              </a:pPr>
              <a:endParaRPr kumimoji="0" lang="en-US" sz="1000" b="0" i="0" u="none" strike="noStrike" kern="0" cap="none" spc="0" normalizeH="0" baseline="0" noProof="0">
                <a:ln>
                  <a:noFill/>
                </a:ln>
                <a:solidFill>
                  <a:sysClr val="window" lastClr="FFFFFF"/>
                </a:solidFill>
                <a:effectLst/>
                <a:uLnTx/>
                <a:uFillTx/>
                <a:latin typeface="Ubuntu"/>
                <a:ea typeface="+mn-ea"/>
                <a:cs typeface="Arial" pitchFamily="34" charset="0"/>
              </a:endParaRPr>
            </a:p>
          </p:txBody>
        </p:sp>
        <p:pic>
          <p:nvPicPr>
            <p:cNvPr id="130" name="Picture 2" descr="D:\Work\Proposal Nuggets\Ready to use templates\Icons\Business Set\like.png">
              <a:extLst>
                <a:ext uri="{FF2B5EF4-FFF2-40B4-BE49-F238E27FC236}">
                  <a16:creationId xmlns:a16="http://schemas.microsoft.com/office/drawing/2014/main" id="{9CD32B54-848D-1349-894B-E2224CFB677C}"/>
                </a:ext>
              </a:extLst>
            </p:cNvPr>
            <p:cNvPicPr>
              <a:picLocks noChangeAspect="1" noChangeArrowheads="1"/>
            </p:cNvPicPr>
            <p:nvPr/>
          </p:nvPicPr>
          <p:blipFill>
            <a:blip r:embed="rId11" cstate="email">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078227" y="1713550"/>
              <a:ext cx="457200" cy="457201"/>
            </a:xfrm>
            <a:prstGeom prst="rect">
              <a:avLst/>
            </a:prstGeom>
            <a:noFill/>
            <a:extLst>
              <a:ext uri="{909E8E84-426E-40DD-AFC4-6F175D3DCCD1}">
                <a14:hiddenFill xmlns:a14="http://schemas.microsoft.com/office/drawing/2010/main">
                  <a:solidFill>
                    <a:srgbClr val="FFFFFF"/>
                  </a:solidFill>
                </a14:hiddenFill>
              </a:ext>
            </a:extLst>
          </p:spPr>
        </p:pic>
      </p:grpSp>
      <p:pic>
        <p:nvPicPr>
          <p:cNvPr id="148" name="Picture 147">
            <a:extLst>
              <a:ext uri="{FF2B5EF4-FFF2-40B4-BE49-F238E27FC236}">
                <a16:creationId xmlns:a16="http://schemas.microsoft.com/office/drawing/2014/main" id="{932EC742-F602-F988-592D-E95ABFAA4564}"/>
              </a:ext>
            </a:extLst>
          </p:cNvPr>
          <p:cNvPicPr>
            <a:picLocks noChangeAspect="1"/>
          </p:cNvPicPr>
          <p:nvPr/>
        </p:nvPicPr>
        <p:blipFill rotWithShape="1">
          <a:blip r:embed="rId12" cstate="email">
            <a:extLst>
              <a:ext uri="{28A0092B-C50C-407E-A947-70E740481C1C}">
                <a14:useLocalDpi xmlns:a14="http://schemas.microsoft.com/office/drawing/2010/main" val="0"/>
              </a:ext>
            </a:extLst>
          </a:blip>
          <a:srcRect l="8061" r="4612"/>
          <a:stretch/>
        </p:blipFill>
        <p:spPr>
          <a:xfrm>
            <a:off x="181283" y="4335858"/>
            <a:ext cx="2702942" cy="1741471"/>
          </a:xfrm>
          <a:prstGeom prst="rect">
            <a:avLst/>
          </a:prstGeom>
        </p:spPr>
      </p:pic>
      <p:sp>
        <p:nvSpPr>
          <p:cNvPr id="149" name="Retângulo 6">
            <a:extLst>
              <a:ext uri="{FF2B5EF4-FFF2-40B4-BE49-F238E27FC236}">
                <a16:creationId xmlns:a16="http://schemas.microsoft.com/office/drawing/2014/main" id="{563D61C5-8BCD-B5FA-E228-D32AD6E532D8}"/>
              </a:ext>
            </a:extLst>
          </p:cNvPr>
          <p:cNvSpPr/>
          <p:nvPr/>
        </p:nvSpPr>
        <p:spPr>
          <a:xfrm>
            <a:off x="502981" y="4957860"/>
            <a:ext cx="548640"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srgbClr val="FFFFFF"/>
                </a:solidFill>
                <a:effectLst/>
                <a:uLnTx/>
                <a:uFillTx/>
                <a:latin typeface="Verdana"/>
                <a:ea typeface="+mn-ea"/>
                <a:cs typeface="+mn-cs"/>
              </a:rPr>
              <a:t>US</a:t>
            </a:r>
          </a:p>
        </p:txBody>
      </p:sp>
      <p:sp>
        <p:nvSpPr>
          <p:cNvPr id="150" name="Retângulo 6">
            <a:extLst>
              <a:ext uri="{FF2B5EF4-FFF2-40B4-BE49-F238E27FC236}">
                <a16:creationId xmlns:a16="http://schemas.microsoft.com/office/drawing/2014/main" id="{FD44382F-28B3-84E9-30E4-6420589888B6}"/>
              </a:ext>
            </a:extLst>
          </p:cNvPr>
          <p:cNvSpPr/>
          <p:nvPr/>
        </p:nvSpPr>
        <p:spPr>
          <a:xfrm>
            <a:off x="1802326" y="5066292"/>
            <a:ext cx="548640"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srgbClr val="FFFFFF"/>
                </a:solidFill>
                <a:effectLst/>
                <a:uLnTx/>
                <a:uFillTx/>
                <a:latin typeface="Verdana"/>
                <a:ea typeface="+mn-ea"/>
                <a:cs typeface="+mn-cs"/>
              </a:rPr>
              <a:t>India</a:t>
            </a:r>
          </a:p>
        </p:txBody>
      </p:sp>
      <p:sp>
        <p:nvSpPr>
          <p:cNvPr id="151" name="Rectangle 150">
            <a:extLst>
              <a:ext uri="{FF2B5EF4-FFF2-40B4-BE49-F238E27FC236}">
                <a16:creationId xmlns:a16="http://schemas.microsoft.com/office/drawing/2014/main" id="{A2E58A26-E009-8C1D-EF90-10AC713D810C}"/>
              </a:ext>
            </a:extLst>
          </p:cNvPr>
          <p:cNvSpPr>
            <a:spLocks/>
          </p:cNvSpPr>
          <p:nvPr/>
        </p:nvSpPr>
        <p:spPr>
          <a:xfrm>
            <a:off x="120232" y="4203826"/>
            <a:ext cx="2847435" cy="182880"/>
          </a:xfrm>
          <a:prstGeom prst="rect">
            <a:avLst/>
          </a:prstGeom>
          <a:solidFill>
            <a:schemeClr val="accent1"/>
          </a:solidFill>
          <a:ln w="12700" cap="flat" cmpd="sng" algn="ctr">
            <a:noFill/>
            <a:prstDash val="solid"/>
            <a:miter lim="800000"/>
          </a:ln>
          <a:effectLst/>
        </p:spPr>
        <p:txBody>
          <a:bodyPr wrap="square" lIns="73152" tIns="73152" rIns="73152" bIns="73152"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prstClr val="white"/>
                </a:solidFill>
                <a:effectLst/>
                <a:uLnTx/>
                <a:uFillTx/>
                <a:latin typeface="Verdana"/>
                <a:ea typeface="+mn-ea"/>
                <a:cs typeface="+mn-cs"/>
              </a:rPr>
              <a:t>Onshore – Offshore Model</a:t>
            </a:r>
          </a:p>
        </p:txBody>
      </p:sp>
      <p:pic>
        <p:nvPicPr>
          <p:cNvPr id="152" name="Picture 151">
            <a:extLst>
              <a:ext uri="{FF2B5EF4-FFF2-40B4-BE49-F238E27FC236}">
                <a16:creationId xmlns:a16="http://schemas.microsoft.com/office/drawing/2014/main" id="{3BFBE9A4-6A04-1C88-0EF9-3AA4474E8A51}"/>
              </a:ext>
            </a:extLst>
          </p:cNvPr>
          <p:cNvPicPr>
            <a:picLocks noChangeAspect="1"/>
          </p:cNvPicPr>
          <p:nvPr/>
        </p:nvPicPr>
        <p:blipFill>
          <a:blip r:embed="rId13"/>
          <a:stretch>
            <a:fillRect/>
          </a:stretch>
        </p:blipFill>
        <p:spPr>
          <a:xfrm>
            <a:off x="10982389" y="1506504"/>
            <a:ext cx="717303" cy="622476"/>
          </a:xfrm>
          <a:prstGeom prst="rect">
            <a:avLst/>
          </a:prstGeom>
        </p:spPr>
      </p:pic>
    </p:spTree>
    <p:extLst>
      <p:ext uri="{BB962C8B-B14F-4D97-AF65-F5344CB8AC3E}">
        <p14:creationId xmlns:p14="http://schemas.microsoft.com/office/powerpoint/2010/main" val="104912939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D238DC97-C393-08BC-1D72-89F0192AB91C}"/>
              </a:ext>
            </a:extLst>
          </p:cNvPr>
          <p:cNvSpPr/>
          <p:nvPr/>
        </p:nvSpPr>
        <p:spPr>
          <a:xfrm>
            <a:off x="8433596" y="0"/>
            <a:ext cx="3758404" cy="9162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X"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10" name="Rectangle: Rounded Corners 492">
            <a:extLst>
              <a:ext uri="{FF2B5EF4-FFF2-40B4-BE49-F238E27FC236}">
                <a16:creationId xmlns:a16="http://schemas.microsoft.com/office/drawing/2014/main" id="{6BA87D7B-DB51-4863-B1F9-BC8731BA8E43}"/>
              </a:ext>
            </a:extLst>
          </p:cNvPr>
          <p:cNvSpPr>
            <a:spLocks/>
          </p:cNvSpPr>
          <p:nvPr/>
        </p:nvSpPr>
        <p:spPr>
          <a:xfrm>
            <a:off x="3544137" y="4998221"/>
            <a:ext cx="8581369" cy="1783700"/>
          </a:xfrm>
          <a:prstGeom prst="rect">
            <a:avLst/>
          </a:prstGeom>
          <a:solidFill>
            <a:srgbClr val="E1E1E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Ubuntu"/>
              <a:ea typeface="+mn-ea"/>
              <a:cs typeface="+mn-cs"/>
            </a:endParaRPr>
          </a:p>
        </p:txBody>
      </p:sp>
      <p:sp>
        <p:nvSpPr>
          <p:cNvPr id="28" name="Rectangle 27">
            <a:extLst>
              <a:ext uri="{FF2B5EF4-FFF2-40B4-BE49-F238E27FC236}">
                <a16:creationId xmlns:a16="http://schemas.microsoft.com/office/drawing/2014/main" id="{277F480E-2AB5-4E3A-A4A2-B21F9C74952F}"/>
              </a:ext>
            </a:extLst>
          </p:cNvPr>
          <p:cNvSpPr/>
          <p:nvPr/>
        </p:nvSpPr>
        <p:spPr>
          <a:xfrm>
            <a:off x="4781322" y="641594"/>
            <a:ext cx="7344184" cy="2657844"/>
          </a:xfrm>
          <a:prstGeom prst="rect">
            <a:avLst/>
          </a:prstGeom>
          <a:solidFill>
            <a:srgbClr val="C7EE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14" name="Google Shape;230;p44">
            <a:extLst>
              <a:ext uri="{FF2B5EF4-FFF2-40B4-BE49-F238E27FC236}">
                <a16:creationId xmlns:a16="http://schemas.microsoft.com/office/drawing/2014/main" id="{2F37495C-4000-4E21-A13E-FC9AFF4BD016}"/>
              </a:ext>
            </a:extLst>
          </p:cNvPr>
          <p:cNvSpPr/>
          <p:nvPr/>
        </p:nvSpPr>
        <p:spPr>
          <a:xfrm>
            <a:off x="52550" y="639133"/>
            <a:ext cx="4650220" cy="2662464"/>
          </a:xfrm>
          <a:prstGeom prst="rect">
            <a:avLst/>
          </a:prstGeom>
          <a:solidFill>
            <a:schemeClr val="bg2">
              <a:lumMod val="25000"/>
              <a:alpha val="22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Ubuntu"/>
              <a:ea typeface="+mn-ea"/>
              <a:cs typeface="+mn-cs"/>
            </a:endParaRPr>
          </a:p>
        </p:txBody>
      </p:sp>
      <p:sp>
        <p:nvSpPr>
          <p:cNvPr id="3" name="Title 2">
            <a:extLst>
              <a:ext uri="{FF2B5EF4-FFF2-40B4-BE49-F238E27FC236}">
                <a16:creationId xmlns:a16="http://schemas.microsoft.com/office/drawing/2014/main" id="{AE46AC47-DF47-433D-A336-675301F704D8}"/>
              </a:ext>
            </a:extLst>
          </p:cNvPr>
          <p:cNvSpPr>
            <a:spLocks noGrp="1"/>
          </p:cNvSpPr>
          <p:nvPr>
            <p:ph type="title"/>
          </p:nvPr>
        </p:nvSpPr>
        <p:spPr>
          <a:xfrm>
            <a:off x="98777" y="-111402"/>
            <a:ext cx="10947772" cy="716711"/>
          </a:xfrm>
        </p:spPr>
        <p:txBody>
          <a:bodyPr/>
          <a:lstStyle/>
          <a:p>
            <a:r>
              <a:rPr lang="en-US">
                <a:solidFill>
                  <a:schemeClr val="tx1"/>
                </a:solidFill>
              </a:rPr>
              <a:t>Capgemini insurance at a glance</a:t>
            </a:r>
          </a:p>
        </p:txBody>
      </p:sp>
      <p:sp>
        <p:nvSpPr>
          <p:cNvPr id="7" name="Rectangle: Rounded Corners 492">
            <a:extLst>
              <a:ext uri="{FF2B5EF4-FFF2-40B4-BE49-F238E27FC236}">
                <a16:creationId xmlns:a16="http://schemas.microsoft.com/office/drawing/2014/main" id="{75EC66D9-1916-4BBC-A523-B6A28A8117D7}"/>
              </a:ext>
            </a:extLst>
          </p:cNvPr>
          <p:cNvSpPr>
            <a:spLocks/>
          </p:cNvSpPr>
          <p:nvPr/>
        </p:nvSpPr>
        <p:spPr>
          <a:xfrm>
            <a:off x="52550" y="3360534"/>
            <a:ext cx="3415862" cy="3421387"/>
          </a:xfrm>
          <a:prstGeom prst="rect">
            <a:avLst/>
          </a:prstGeom>
          <a:solidFill>
            <a:schemeClr val="accent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graphicFrame>
        <p:nvGraphicFramePr>
          <p:cNvPr id="6" name="Diagram 5">
            <a:extLst>
              <a:ext uri="{FF2B5EF4-FFF2-40B4-BE49-F238E27FC236}">
                <a16:creationId xmlns:a16="http://schemas.microsoft.com/office/drawing/2014/main" id="{2EA23A02-7E99-45FF-AC2B-4BAD1F4A4655}"/>
              </a:ext>
            </a:extLst>
          </p:cNvPr>
          <p:cNvGraphicFramePr/>
          <p:nvPr/>
        </p:nvGraphicFramePr>
        <p:xfrm>
          <a:off x="-269765" y="4091007"/>
          <a:ext cx="3790731" cy="254379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TextBox 7">
            <a:extLst>
              <a:ext uri="{FF2B5EF4-FFF2-40B4-BE49-F238E27FC236}">
                <a16:creationId xmlns:a16="http://schemas.microsoft.com/office/drawing/2014/main" id="{23C6DC53-35D9-45EB-9566-A96C919D07F8}"/>
              </a:ext>
            </a:extLst>
          </p:cNvPr>
          <p:cNvSpPr txBox="1"/>
          <p:nvPr/>
        </p:nvSpPr>
        <p:spPr>
          <a:xfrm>
            <a:off x="210374" y="3550249"/>
            <a:ext cx="298493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70AD"/>
                </a:solidFill>
                <a:effectLst/>
                <a:uLnTx/>
                <a:uFillTx/>
                <a:latin typeface="Ubuntu"/>
                <a:ea typeface="+mn-ea"/>
                <a:cs typeface="+mn-cs"/>
              </a:rPr>
              <a:t>Global Footprint</a:t>
            </a:r>
          </a:p>
        </p:txBody>
      </p:sp>
      <p:sp>
        <p:nvSpPr>
          <p:cNvPr id="11" name="Rectangle: Rounded Corners 492">
            <a:extLst>
              <a:ext uri="{FF2B5EF4-FFF2-40B4-BE49-F238E27FC236}">
                <a16:creationId xmlns:a16="http://schemas.microsoft.com/office/drawing/2014/main" id="{8807C266-CC7D-417D-AD84-AE6C7F2BA4C2}"/>
              </a:ext>
            </a:extLst>
          </p:cNvPr>
          <p:cNvSpPr>
            <a:spLocks/>
          </p:cNvSpPr>
          <p:nvPr/>
        </p:nvSpPr>
        <p:spPr>
          <a:xfrm>
            <a:off x="3549039" y="3375044"/>
            <a:ext cx="8581368" cy="1545085"/>
          </a:xfrm>
          <a:prstGeom prst="rect">
            <a:avLst/>
          </a:prstGeom>
          <a:solidFill>
            <a:srgbClr val="E1E1E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Ubuntu"/>
              <a:ea typeface="+mn-ea"/>
              <a:cs typeface="+mn-cs"/>
            </a:endParaRPr>
          </a:p>
        </p:txBody>
      </p:sp>
      <p:sp>
        <p:nvSpPr>
          <p:cNvPr id="15" name="Rectangle: Rounded Corners 14">
            <a:extLst>
              <a:ext uri="{FF2B5EF4-FFF2-40B4-BE49-F238E27FC236}">
                <a16:creationId xmlns:a16="http://schemas.microsoft.com/office/drawing/2014/main" id="{F5365F37-8122-4E28-B950-756F0F901692}"/>
              </a:ext>
            </a:extLst>
          </p:cNvPr>
          <p:cNvSpPr/>
          <p:nvPr/>
        </p:nvSpPr>
        <p:spPr>
          <a:xfrm>
            <a:off x="4454027" y="646502"/>
            <a:ext cx="4113998" cy="510745"/>
          </a:xfrm>
          <a:prstGeom prst="roundRect">
            <a:avLst/>
          </a:prstGeom>
          <a:noFill/>
          <a:ln>
            <a:noFill/>
          </a:ln>
        </p:spPr>
        <p:txBody>
          <a:bodyPr spcFirstLastPara="1" wrap="square" lIns="91425" tIns="91425" rIns="91425" bIns="91425"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F878A"/>
                </a:solidFill>
                <a:effectLst/>
                <a:uLnTx/>
                <a:uFillTx/>
                <a:latin typeface="Ubuntu"/>
                <a:ea typeface="+mn-ea"/>
                <a:cs typeface="+mn-cs"/>
              </a:rPr>
              <a:t>KEY INSURANCE SERVICES</a:t>
            </a:r>
          </a:p>
        </p:txBody>
      </p:sp>
      <p:pic>
        <p:nvPicPr>
          <p:cNvPr id="29" name="Picture 20">
            <a:extLst>
              <a:ext uri="{FF2B5EF4-FFF2-40B4-BE49-F238E27FC236}">
                <a16:creationId xmlns:a16="http://schemas.microsoft.com/office/drawing/2014/main" id="{EBF71DBC-968A-42A8-A100-1B32B58E6226}"/>
              </a:ext>
            </a:extLst>
          </p:cNvPr>
          <p:cNvPicPr>
            <a:picLocks noChangeAspect="1"/>
          </p:cNvPicPr>
          <p:nvPr/>
        </p:nvPicPr>
        <p:blipFill>
          <a:blip r:embed="rId8" cstate="email">
            <a:extLst>
              <a:ext uri="{28A0092B-C50C-407E-A947-70E740481C1C}">
                <a14:useLocalDpi xmlns:a14="http://schemas.microsoft.com/office/drawing/2010/main"/>
              </a:ext>
            </a:extLst>
          </a:blip>
          <a:srcRect/>
          <a:stretch>
            <a:fillRect/>
          </a:stretch>
        </p:blipFill>
        <p:spPr bwMode="auto">
          <a:xfrm>
            <a:off x="8093992" y="4008904"/>
            <a:ext cx="564687" cy="272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 name="Picture 10">
            <a:extLst>
              <a:ext uri="{FF2B5EF4-FFF2-40B4-BE49-F238E27FC236}">
                <a16:creationId xmlns:a16="http://schemas.microsoft.com/office/drawing/2014/main" id="{F5F33E17-AC48-464A-98C4-03DC0C1C14C7}"/>
              </a:ext>
            </a:extLst>
          </p:cNvPr>
          <p:cNvPicPr>
            <a:picLocks noChangeAspect="1" noChangeArrowheads="1"/>
          </p:cNvPicPr>
          <p:nvPr/>
        </p:nvPicPr>
        <p:blipFill rotWithShape="1">
          <a:blip r:embed="rId9" cstate="email">
            <a:clrChange>
              <a:clrFrom>
                <a:srgbClr val="FFFFFF"/>
              </a:clrFrom>
              <a:clrTo>
                <a:srgbClr val="FFFFFF">
                  <a:alpha val="0"/>
                </a:srgbClr>
              </a:clrTo>
            </a:clrChange>
            <a:extLst>
              <a:ext uri="{28A0092B-C50C-407E-A947-70E740481C1C}">
                <a14:useLocalDpi xmlns:a14="http://schemas.microsoft.com/office/drawing/2010/main"/>
              </a:ext>
            </a:extLst>
          </a:blip>
          <a:srcRect l="7623" t="-4775" r="23390" b="1416"/>
          <a:stretch/>
        </p:blipFill>
        <p:spPr bwMode="auto">
          <a:xfrm>
            <a:off x="10142645" y="3956428"/>
            <a:ext cx="829301" cy="337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33">
            <a:extLst>
              <a:ext uri="{FF2B5EF4-FFF2-40B4-BE49-F238E27FC236}">
                <a16:creationId xmlns:a16="http://schemas.microsoft.com/office/drawing/2014/main" id="{2E831255-CFD9-4E87-A83F-F43D8EA235D9}"/>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6826649" y="4511915"/>
            <a:ext cx="810862" cy="246500"/>
          </a:xfrm>
          <a:prstGeom prst="rect">
            <a:avLst/>
          </a:prstGeom>
        </p:spPr>
      </p:pic>
      <p:pic>
        <p:nvPicPr>
          <p:cNvPr id="35" name="Picture 6" descr="Image result for workfusion logo">
            <a:extLst>
              <a:ext uri="{FF2B5EF4-FFF2-40B4-BE49-F238E27FC236}">
                <a16:creationId xmlns:a16="http://schemas.microsoft.com/office/drawing/2014/main" id="{CAF60EED-C0C4-423D-9453-3D1E4F4FA874}"/>
              </a:ext>
            </a:extLst>
          </p:cNvPr>
          <p:cNvPicPr>
            <a:picLocks noChangeAspect="1" noChangeArrowheads="1"/>
          </p:cNvPicPr>
          <p:nvPr/>
        </p:nvPicPr>
        <p:blipFill rotWithShape="1">
          <a:blip r:embed="rId11" cstate="email">
            <a:clrChange>
              <a:clrFrom>
                <a:srgbClr val="FFFFFF"/>
              </a:clrFrom>
              <a:clrTo>
                <a:srgbClr val="FFFFFF">
                  <a:alpha val="0"/>
                </a:srgbClr>
              </a:clrTo>
            </a:clrChange>
            <a:extLst>
              <a:ext uri="{28A0092B-C50C-407E-A947-70E740481C1C}">
                <a14:useLocalDpi xmlns:a14="http://schemas.microsoft.com/office/drawing/2010/main"/>
              </a:ext>
            </a:extLst>
          </a:blip>
          <a:srcRect l="4233" t="25884" r="6163" b="23381"/>
          <a:stretch/>
        </p:blipFill>
        <p:spPr bwMode="auto">
          <a:xfrm>
            <a:off x="10924025" y="4531170"/>
            <a:ext cx="1111367" cy="208869"/>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2" descr="Image result for mulesoft logo">
            <a:extLst>
              <a:ext uri="{FF2B5EF4-FFF2-40B4-BE49-F238E27FC236}">
                <a16:creationId xmlns:a16="http://schemas.microsoft.com/office/drawing/2014/main" id="{E1B5BA49-1A08-4646-A2B7-6C8357CE614A}"/>
              </a:ext>
            </a:extLst>
          </p:cNvPr>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3592427" y="4528204"/>
            <a:ext cx="1130631" cy="236759"/>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4" descr="Image result for duck creek logo png">
            <a:extLst>
              <a:ext uri="{FF2B5EF4-FFF2-40B4-BE49-F238E27FC236}">
                <a16:creationId xmlns:a16="http://schemas.microsoft.com/office/drawing/2014/main" id="{6A18B5C3-8A0D-43F7-A384-1E2B96A247F9}"/>
              </a:ext>
            </a:extLst>
          </p:cNvPr>
          <p:cNvPicPr>
            <a:picLocks noChangeAspect="1" noChangeArrowheads="1"/>
          </p:cNvPicPr>
          <p:nvPr/>
        </p:nvPicPr>
        <p:blipFill>
          <a:blip r:embed="rId13"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3671970" y="4025563"/>
            <a:ext cx="468390" cy="299914"/>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10" descr="Image result for snowflake company png logo">
            <a:extLst>
              <a:ext uri="{FF2B5EF4-FFF2-40B4-BE49-F238E27FC236}">
                <a16:creationId xmlns:a16="http://schemas.microsoft.com/office/drawing/2014/main" id="{B151A3A3-3395-457E-8965-E52C599DEB35}"/>
              </a:ext>
            </a:extLst>
          </p:cNvPr>
          <p:cNvPicPr>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5515577" y="4551928"/>
            <a:ext cx="1031355" cy="188082"/>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2" descr="Image result for shift-technology logo">
            <a:extLst>
              <a:ext uri="{FF2B5EF4-FFF2-40B4-BE49-F238E27FC236}">
                <a16:creationId xmlns:a16="http://schemas.microsoft.com/office/drawing/2014/main" id="{8B2C5443-0207-425A-909C-6CD2A0505669}"/>
              </a:ext>
            </a:extLst>
          </p:cNvPr>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9755580" y="4480582"/>
            <a:ext cx="409380" cy="311124"/>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42">
            <a:extLst>
              <a:ext uri="{FF2B5EF4-FFF2-40B4-BE49-F238E27FC236}">
                <a16:creationId xmlns:a16="http://schemas.microsoft.com/office/drawing/2014/main" id="{5E2C3717-6572-4CFC-AA48-070E3742E04D}"/>
              </a:ext>
            </a:extLst>
          </p:cNvPr>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7954454" y="4541311"/>
            <a:ext cx="666361" cy="188082"/>
          </a:xfrm>
          <a:prstGeom prst="rect">
            <a:avLst/>
          </a:prstGeom>
        </p:spPr>
      </p:pic>
      <p:pic>
        <p:nvPicPr>
          <p:cNvPr id="45" name="Picture 44">
            <a:extLst>
              <a:ext uri="{FF2B5EF4-FFF2-40B4-BE49-F238E27FC236}">
                <a16:creationId xmlns:a16="http://schemas.microsoft.com/office/drawing/2014/main" id="{18A4EB14-56F8-449F-8685-A96B4EDFE7C6}"/>
              </a:ext>
            </a:extLst>
          </p:cNvPr>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5928769" y="4027061"/>
            <a:ext cx="765743" cy="188082"/>
          </a:xfrm>
          <a:prstGeom prst="rect">
            <a:avLst/>
          </a:prstGeom>
        </p:spPr>
      </p:pic>
      <p:sp>
        <p:nvSpPr>
          <p:cNvPr id="47" name="TextBox 46">
            <a:extLst>
              <a:ext uri="{FF2B5EF4-FFF2-40B4-BE49-F238E27FC236}">
                <a16:creationId xmlns:a16="http://schemas.microsoft.com/office/drawing/2014/main" id="{E3D7A296-1D09-4129-B350-705BC494681A}"/>
              </a:ext>
            </a:extLst>
          </p:cNvPr>
          <p:cNvSpPr txBox="1"/>
          <p:nvPr/>
        </p:nvSpPr>
        <p:spPr>
          <a:xfrm>
            <a:off x="3309039" y="3497851"/>
            <a:ext cx="2346250" cy="3693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70AD"/>
                </a:solidFill>
                <a:effectLst/>
                <a:uLnTx/>
                <a:uFillTx/>
                <a:latin typeface="Ubuntu"/>
                <a:ea typeface="+mn-ea"/>
                <a:cs typeface="+mn-cs"/>
              </a:rPr>
              <a:t>Key Partnerships</a:t>
            </a:r>
          </a:p>
        </p:txBody>
      </p:sp>
      <p:pic>
        <p:nvPicPr>
          <p:cNvPr id="48" name="Picture 30" descr="Image result for Chubb insurance logo">
            <a:extLst>
              <a:ext uri="{FF2B5EF4-FFF2-40B4-BE49-F238E27FC236}">
                <a16:creationId xmlns:a16="http://schemas.microsoft.com/office/drawing/2014/main" id="{94E81049-B6E6-40BE-B51D-A79710592F53}"/>
              </a:ext>
            </a:extLst>
          </p:cNvPr>
          <p:cNvPicPr>
            <a:picLocks noChangeAspect="1" noChangeArrowheads="1"/>
          </p:cNvPicPr>
          <p:nvPr/>
        </p:nvPicPr>
        <p:blipFill>
          <a:blip r:embed="rId18"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6018865" y="5499676"/>
            <a:ext cx="692740" cy="81050"/>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49" descr="axa-logo_0.gif">
            <a:extLst>
              <a:ext uri="{FF2B5EF4-FFF2-40B4-BE49-F238E27FC236}">
                <a16:creationId xmlns:a16="http://schemas.microsoft.com/office/drawing/2014/main" id="{EBF45B40-B214-4BD6-91EB-81DD020ADBD8}"/>
              </a:ext>
            </a:extLst>
          </p:cNvPr>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4683977" y="5426704"/>
            <a:ext cx="300843" cy="205468"/>
          </a:xfrm>
          <a:prstGeom prst="rect">
            <a:avLst/>
          </a:prstGeom>
        </p:spPr>
      </p:pic>
      <p:sp>
        <p:nvSpPr>
          <p:cNvPr id="88" name="TextBox 87">
            <a:extLst>
              <a:ext uri="{FF2B5EF4-FFF2-40B4-BE49-F238E27FC236}">
                <a16:creationId xmlns:a16="http://schemas.microsoft.com/office/drawing/2014/main" id="{58FD1C5C-065F-4B0B-9258-C0479D267E12}"/>
              </a:ext>
            </a:extLst>
          </p:cNvPr>
          <p:cNvSpPr txBox="1"/>
          <p:nvPr/>
        </p:nvSpPr>
        <p:spPr>
          <a:xfrm>
            <a:off x="2972593" y="5050770"/>
            <a:ext cx="2346250" cy="3693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70AD"/>
                </a:solidFill>
                <a:effectLst/>
                <a:uLnTx/>
                <a:uFillTx/>
                <a:latin typeface="Ubuntu"/>
                <a:ea typeface="+mn-ea"/>
                <a:cs typeface="+mn-cs"/>
              </a:rPr>
              <a:t>Select Clients</a:t>
            </a:r>
          </a:p>
        </p:txBody>
      </p:sp>
      <p:graphicFrame>
        <p:nvGraphicFramePr>
          <p:cNvPr id="99" name="Diagram 98">
            <a:extLst>
              <a:ext uri="{FF2B5EF4-FFF2-40B4-BE49-F238E27FC236}">
                <a16:creationId xmlns:a16="http://schemas.microsoft.com/office/drawing/2014/main" id="{BADD85BB-3A92-4DF4-AB8F-BC37D20BA361}"/>
              </a:ext>
            </a:extLst>
          </p:cNvPr>
          <p:cNvGraphicFramePr/>
          <p:nvPr/>
        </p:nvGraphicFramePr>
        <p:xfrm>
          <a:off x="4862084" y="916250"/>
          <a:ext cx="7231139" cy="2344126"/>
        </p:xfrm>
        <a:graphic>
          <a:graphicData uri="http://schemas.openxmlformats.org/drawingml/2006/diagram">
            <dgm:relIds xmlns:dgm="http://schemas.openxmlformats.org/drawingml/2006/diagram" xmlns:r="http://schemas.openxmlformats.org/officeDocument/2006/relationships" r:dm="rId20" r:lo="rId21" r:qs="rId22" r:cs="rId23"/>
          </a:graphicData>
        </a:graphic>
      </p:graphicFrame>
      <p:graphicFrame>
        <p:nvGraphicFramePr>
          <p:cNvPr id="100" name="Diagram 99">
            <a:extLst>
              <a:ext uri="{FF2B5EF4-FFF2-40B4-BE49-F238E27FC236}">
                <a16:creationId xmlns:a16="http://schemas.microsoft.com/office/drawing/2014/main" id="{F2E9CADF-43F8-45DE-8655-35F31F44A3D6}"/>
              </a:ext>
            </a:extLst>
          </p:cNvPr>
          <p:cNvGraphicFramePr/>
          <p:nvPr/>
        </p:nvGraphicFramePr>
        <p:xfrm>
          <a:off x="4924317" y="1142740"/>
          <a:ext cx="3468368" cy="2082934"/>
        </p:xfrm>
        <a:graphic>
          <a:graphicData uri="http://schemas.openxmlformats.org/drawingml/2006/diagram">
            <dgm:relIds xmlns:dgm="http://schemas.openxmlformats.org/drawingml/2006/diagram" xmlns:r="http://schemas.openxmlformats.org/officeDocument/2006/relationships" r:dm="rId25" r:lo="rId26" r:qs="rId27" r:cs="rId28"/>
          </a:graphicData>
        </a:graphic>
      </p:graphicFrame>
      <p:graphicFrame>
        <p:nvGraphicFramePr>
          <p:cNvPr id="101" name="Diagram 100">
            <a:extLst>
              <a:ext uri="{FF2B5EF4-FFF2-40B4-BE49-F238E27FC236}">
                <a16:creationId xmlns:a16="http://schemas.microsoft.com/office/drawing/2014/main" id="{E7746A70-92B8-4530-AAE2-5E6BC456F573}"/>
              </a:ext>
            </a:extLst>
          </p:cNvPr>
          <p:cNvGraphicFramePr/>
          <p:nvPr/>
        </p:nvGraphicFramePr>
        <p:xfrm>
          <a:off x="8499446" y="1145267"/>
          <a:ext cx="3468368" cy="2082934"/>
        </p:xfrm>
        <a:graphic>
          <a:graphicData uri="http://schemas.openxmlformats.org/drawingml/2006/diagram">
            <dgm:relIds xmlns:dgm="http://schemas.openxmlformats.org/drawingml/2006/diagram" xmlns:r="http://schemas.openxmlformats.org/officeDocument/2006/relationships" r:dm="rId30" r:lo="rId31" r:qs="rId32" r:cs="rId33"/>
          </a:graphicData>
        </a:graphic>
      </p:graphicFrame>
      <p:sp>
        <p:nvSpPr>
          <p:cNvPr id="4" name="Rectangle 3">
            <a:extLst>
              <a:ext uri="{FF2B5EF4-FFF2-40B4-BE49-F238E27FC236}">
                <a16:creationId xmlns:a16="http://schemas.microsoft.com/office/drawing/2014/main" id="{68B107D4-B716-422D-9D38-E2D9D262C32F}"/>
              </a:ext>
            </a:extLst>
          </p:cNvPr>
          <p:cNvSpPr/>
          <p:nvPr/>
        </p:nvSpPr>
        <p:spPr>
          <a:xfrm>
            <a:off x="98777" y="687560"/>
            <a:ext cx="1482289" cy="1051031"/>
          </a:xfrm>
          <a:prstGeom prst="rect">
            <a:avLst/>
          </a:prstGeom>
          <a:solidFill>
            <a:schemeClr val="bg2">
              <a:lumMod val="75000"/>
            </a:schemeClr>
          </a:solidFill>
          <a:ln w="1905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Ubuntu"/>
                <a:ea typeface="+mn-ea"/>
                <a:cs typeface="+mn-cs"/>
              </a:rPr>
              <a:t>Digital</a:t>
            </a:r>
          </a:p>
        </p:txBody>
      </p:sp>
      <p:sp>
        <p:nvSpPr>
          <p:cNvPr id="102" name="Rectangle 101">
            <a:extLst>
              <a:ext uri="{FF2B5EF4-FFF2-40B4-BE49-F238E27FC236}">
                <a16:creationId xmlns:a16="http://schemas.microsoft.com/office/drawing/2014/main" id="{42E6A8FD-ACFB-4EE1-BBD4-FB6562149E53}"/>
              </a:ext>
            </a:extLst>
          </p:cNvPr>
          <p:cNvSpPr/>
          <p:nvPr/>
        </p:nvSpPr>
        <p:spPr>
          <a:xfrm>
            <a:off x="1616783" y="687559"/>
            <a:ext cx="1482289" cy="1051031"/>
          </a:xfrm>
          <a:prstGeom prst="rect">
            <a:avLst/>
          </a:prstGeom>
          <a:solidFill>
            <a:schemeClr val="bg2">
              <a:lumMod val="75000"/>
            </a:schemeClr>
          </a:solidFill>
          <a:ln w="1905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Ubuntu"/>
                <a:ea typeface="+mn-ea"/>
                <a:cs typeface="+mn-cs"/>
              </a:rPr>
              <a:t>Insights &amp; Data</a:t>
            </a:r>
          </a:p>
        </p:txBody>
      </p:sp>
      <p:sp>
        <p:nvSpPr>
          <p:cNvPr id="104" name="Rectangle 103">
            <a:extLst>
              <a:ext uri="{FF2B5EF4-FFF2-40B4-BE49-F238E27FC236}">
                <a16:creationId xmlns:a16="http://schemas.microsoft.com/office/drawing/2014/main" id="{F2378DE4-7994-4AD7-83CD-194E94480768}"/>
              </a:ext>
            </a:extLst>
          </p:cNvPr>
          <p:cNvSpPr/>
          <p:nvPr/>
        </p:nvSpPr>
        <p:spPr>
          <a:xfrm>
            <a:off x="3155809" y="687559"/>
            <a:ext cx="1500104" cy="1051031"/>
          </a:xfrm>
          <a:prstGeom prst="rect">
            <a:avLst/>
          </a:prstGeom>
          <a:solidFill>
            <a:schemeClr val="bg2">
              <a:lumMod val="75000"/>
            </a:schemeClr>
          </a:solidFill>
          <a:ln w="1905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Ubuntu"/>
                <a:ea typeface="+mn-ea"/>
                <a:cs typeface="+mn-cs"/>
              </a:rPr>
              <a:t>Business Services</a:t>
            </a:r>
          </a:p>
        </p:txBody>
      </p:sp>
      <p:sp>
        <p:nvSpPr>
          <p:cNvPr id="5" name="TextBox 4">
            <a:extLst>
              <a:ext uri="{FF2B5EF4-FFF2-40B4-BE49-F238E27FC236}">
                <a16:creationId xmlns:a16="http://schemas.microsoft.com/office/drawing/2014/main" id="{9DA7AAF5-EA8D-4AB0-97BE-037CDA486E6C}"/>
              </a:ext>
            </a:extLst>
          </p:cNvPr>
          <p:cNvSpPr txBox="1"/>
          <p:nvPr/>
        </p:nvSpPr>
        <p:spPr>
          <a:xfrm>
            <a:off x="98777" y="1797529"/>
            <a:ext cx="4557136" cy="348306"/>
          </a:xfrm>
          <a:prstGeom prst="rect">
            <a:avLst/>
          </a:prstGeom>
          <a:solidFill>
            <a:schemeClr val="bg2">
              <a:lumMod val="75000"/>
            </a:schemeClr>
          </a:solidFill>
          <a:ln w="1905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PT"/>
            </a:defPPr>
            <a:lvl1pPr algn="ctr">
              <a:defRPr sz="16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Ubuntu"/>
                <a:ea typeface="+mn-ea"/>
                <a:cs typeface="+mn-cs"/>
              </a:rPr>
              <a:t>GLOBAL BUSINESS CAPABILITIES</a:t>
            </a:r>
          </a:p>
        </p:txBody>
      </p:sp>
      <p:sp>
        <p:nvSpPr>
          <p:cNvPr id="106" name="Rectangle 105">
            <a:extLst>
              <a:ext uri="{FF2B5EF4-FFF2-40B4-BE49-F238E27FC236}">
                <a16:creationId xmlns:a16="http://schemas.microsoft.com/office/drawing/2014/main" id="{A88FC904-041B-4821-BC10-70F52B80DD0B}"/>
              </a:ext>
            </a:extLst>
          </p:cNvPr>
          <p:cNvSpPr/>
          <p:nvPr/>
        </p:nvSpPr>
        <p:spPr>
          <a:xfrm>
            <a:off x="88961" y="2193787"/>
            <a:ext cx="1482289" cy="1051031"/>
          </a:xfrm>
          <a:prstGeom prst="rect">
            <a:avLst/>
          </a:prstGeom>
          <a:solidFill>
            <a:schemeClr val="bg2">
              <a:lumMod val="75000"/>
            </a:schemeClr>
          </a:solidFill>
          <a:ln w="1905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Ubuntu"/>
                <a:ea typeface="+mn-ea"/>
                <a:cs typeface="+mn-cs"/>
              </a:rPr>
              <a:t>Invent</a:t>
            </a:r>
          </a:p>
        </p:txBody>
      </p:sp>
      <p:sp>
        <p:nvSpPr>
          <p:cNvPr id="107" name="Rectangle 106">
            <a:extLst>
              <a:ext uri="{FF2B5EF4-FFF2-40B4-BE49-F238E27FC236}">
                <a16:creationId xmlns:a16="http://schemas.microsoft.com/office/drawing/2014/main" id="{E7D67C24-0595-416F-864A-4F90519AB75A}"/>
              </a:ext>
            </a:extLst>
          </p:cNvPr>
          <p:cNvSpPr/>
          <p:nvPr/>
        </p:nvSpPr>
        <p:spPr>
          <a:xfrm>
            <a:off x="1616783" y="2193788"/>
            <a:ext cx="1509717" cy="1051031"/>
          </a:xfrm>
          <a:prstGeom prst="rect">
            <a:avLst/>
          </a:prstGeom>
          <a:solidFill>
            <a:schemeClr val="bg2">
              <a:lumMod val="75000"/>
            </a:schemeClr>
          </a:solidFill>
          <a:ln w="1905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Ubuntu"/>
                <a:ea typeface="+mn-ea"/>
                <a:cs typeface="+mn-cs"/>
              </a:rPr>
              <a:t>ER&amp;D</a:t>
            </a:r>
          </a:p>
        </p:txBody>
      </p:sp>
      <p:sp>
        <p:nvSpPr>
          <p:cNvPr id="108" name="Rectangle 107">
            <a:extLst>
              <a:ext uri="{FF2B5EF4-FFF2-40B4-BE49-F238E27FC236}">
                <a16:creationId xmlns:a16="http://schemas.microsoft.com/office/drawing/2014/main" id="{C65BDDC7-3741-4362-ADC4-B2072F11A052}"/>
              </a:ext>
            </a:extLst>
          </p:cNvPr>
          <p:cNvSpPr/>
          <p:nvPr/>
        </p:nvSpPr>
        <p:spPr>
          <a:xfrm>
            <a:off x="3173624" y="2193789"/>
            <a:ext cx="1482289" cy="1051031"/>
          </a:xfrm>
          <a:prstGeom prst="rect">
            <a:avLst/>
          </a:prstGeom>
          <a:solidFill>
            <a:schemeClr val="bg2">
              <a:lumMod val="75000"/>
            </a:schemeClr>
          </a:solidFill>
          <a:ln w="1905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Ubuntu"/>
                <a:ea typeface="+mn-ea"/>
                <a:cs typeface="+mn-cs"/>
              </a:rPr>
              <a:t>Cloud</a:t>
            </a:r>
          </a:p>
        </p:txBody>
      </p:sp>
      <p:pic>
        <p:nvPicPr>
          <p:cNvPr id="9" name="Picture 8" descr="A red and white sign&#10;&#10;Description automatically generated with low confidence">
            <a:extLst>
              <a:ext uri="{FF2B5EF4-FFF2-40B4-BE49-F238E27FC236}">
                <a16:creationId xmlns:a16="http://schemas.microsoft.com/office/drawing/2014/main" id="{948B194A-7D01-1DDD-3878-D607F4736666}"/>
              </a:ext>
            </a:extLst>
          </p:cNvPr>
          <p:cNvPicPr>
            <a:picLocks noChangeAspect="1"/>
          </p:cNvPicPr>
          <p:nvPr/>
        </p:nvPicPr>
        <p:blipFill>
          <a:blip r:embed="rId3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153555" y="4000279"/>
            <a:ext cx="829301" cy="214864"/>
          </a:xfrm>
          <a:prstGeom prst="rect">
            <a:avLst/>
          </a:prstGeom>
        </p:spPr>
      </p:pic>
      <p:pic>
        <p:nvPicPr>
          <p:cNvPr id="12" name="Picture 11" descr="Logo&#10;&#10;Description automatically generated">
            <a:extLst>
              <a:ext uri="{FF2B5EF4-FFF2-40B4-BE49-F238E27FC236}">
                <a16:creationId xmlns:a16="http://schemas.microsoft.com/office/drawing/2014/main" id="{DA2724B9-76A3-68EC-7131-175198E36A4F}"/>
              </a:ext>
            </a:extLst>
          </p:cNvPr>
          <p:cNvPicPr>
            <a:picLocks noChangeAspect="1"/>
          </p:cNvPicPr>
          <p:nvPr/>
        </p:nvPicPr>
        <p:blipFill rotWithShape="1">
          <a:blip r:embed="rId36" cstate="print">
            <a:extLst>
              <a:ext uri="{28A0092B-C50C-407E-A947-70E740481C1C}">
                <a14:useLocalDpi xmlns:a14="http://schemas.microsoft.com/office/drawing/2010/main" val="0"/>
              </a:ext>
            </a:extLst>
          </a:blip>
          <a:srcRect t="21016" b="25825"/>
          <a:stretch/>
        </p:blipFill>
        <p:spPr>
          <a:xfrm>
            <a:off x="4906521" y="4026540"/>
            <a:ext cx="901168" cy="250704"/>
          </a:xfrm>
          <a:prstGeom prst="rect">
            <a:avLst/>
          </a:prstGeom>
        </p:spPr>
      </p:pic>
      <p:pic>
        <p:nvPicPr>
          <p:cNvPr id="13" name="Picture 4" descr="Google Cloud Platform Tutorial: From Zero to Hero with GCP">
            <a:extLst>
              <a:ext uri="{FF2B5EF4-FFF2-40B4-BE49-F238E27FC236}">
                <a16:creationId xmlns:a16="http://schemas.microsoft.com/office/drawing/2014/main" id="{AB7E7890-AFCD-E14C-EF0B-500AD1E10120}"/>
              </a:ext>
            </a:extLst>
          </p:cNvPr>
          <p:cNvPicPr>
            <a:picLocks noChangeAspect="1" noChangeArrowheads="1"/>
          </p:cNvPicPr>
          <p:nvPr/>
        </p:nvPicPr>
        <p:blipFill rotWithShape="1">
          <a:blip r:embed="rId37" cstate="email">
            <a:extLst>
              <a:ext uri="{28A0092B-C50C-407E-A947-70E740481C1C}">
                <a14:useLocalDpi xmlns:a14="http://schemas.microsoft.com/office/drawing/2010/main"/>
              </a:ext>
            </a:extLst>
          </a:blip>
          <a:srcRect l="20581" t="7810" r="25388"/>
          <a:stretch/>
        </p:blipFill>
        <p:spPr bwMode="auto">
          <a:xfrm>
            <a:off x="6743457" y="3865204"/>
            <a:ext cx="550427" cy="528267"/>
          </a:xfrm>
          <a:prstGeom prst="rect">
            <a:avLst/>
          </a:prstGeom>
          <a:ln>
            <a:prstDash val="dash"/>
          </a:ln>
          <a:extLst>
            <a:ext uri="{909E8E84-426E-40DD-AFC4-6F175D3DCCD1}">
              <a14:hiddenFill xmlns:a14="http://schemas.microsoft.com/office/drawing/2010/main">
                <a:solidFill>
                  <a:srgbClr val="FFFFFF"/>
                </a:solidFill>
              </a14:hiddenFill>
            </a:ext>
          </a:extLst>
        </p:spPr>
      </p:pic>
      <p:pic>
        <p:nvPicPr>
          <p:cNvPr id="16" name="Picture 15" descr="A picture containing text, tableware, plate, dishware&#10;&#10;Description automatically generated">
            <a:extLst>
              <a:ext uri="{FF2B5EF4-FFF2-40B4-BE49-F238E27FC236}">
                <a16:creationId xmlns:a16="http://schemas.microsoft.com/office/drawing/2014/main" id="{4551978E-9B10-C5BD-53D8-8241BCC39A7B}"/>
              </a:ext>
            </a:extLst>
          </p:cNvPr>
          <p:cNvPicPr>
            <a:picLocks noChangeAspect="1"/>
          </p:cNvPicPr>
          <p:nvPr/>
        </p:nvPicPr>
        <p:blipFill>
          <a:blip r:embed="rId38" cstate="email">
            <a:extLst>
              <a:ext uri="{28A0092B-C50C-407E-A947-70E740481C1C}">
                <a14:useLocalDpi xmlns:a14="http://schemas.microsoft.com/office/drawing/2010/main"/>
              </a:ext>
            </a:extLst>
          </a:blip>
          <a:stretch>
            <a:fillRect/>
          </a:stretch>
        </p:blipFill>
        <p:spPr>
          <a:xfrm>
            <a:off x="7434996" y="3989309"/>
            <a:ext cx="522517" cy="312469"/>
          </a:xfrm>
          <a:prstGeom prst="rect">
            <a:avLst/>
          </a:prstGeom>
        </p:spPr>
      </p:pic>
      <p:grpSp>
        <p:nvGrpSpPr>
          <p:cNvPr id="17" name="Group 16">
            <a:extLst>
              <a:ext uri="{FF2B5EF4-FFF2-40B4-BE49-F238E27FC236}">
                <a16:creationId xmlns:a16="http://schemas.microsoft.com/office/drawing/2014/main" id="{69A40EB3-C60D-D41C-8973-C7210DE5EA90}"/>
              </a:ext>
            </a:extLst>
          </p:cNvPr>
          <p:cNvGrpSpPr/>
          <p:nvPr/>
        </p:nvGrpSpPr>
        <p:grpSpPr>
          <a:xfrm>
            <a:off x="4335491" y="3945691"/>
            <a:ext cx="387567" cy="401601"/>
            <a:chOff x="8355726" y="3457602"/>
            <a:chExt cx="1014758" cy="968091"/>
          </a:xfrm>
        </p:grpSpPr>
        <p:pic>
          <p:nvPicPr>
            <p:cNvPr id="18" name="Picture 17">
              <a:extLst>
                <a:ext uri="{FF2B5EF4-FFF2-40B4-BE49-F238E27FC236}">
                  <a16:creationId xmlns:a16="http://schemas.microsoft.com/office/drawing/2014/main" id="{830C45EC-5567-BB36-7C69-68CE20D547EE}"/>
                </a:ext>
              </a:extLst>
            </p:cNvPr>
            <p:cNvPicPr>
              <a:picLocks noChangeAspect="1"/>
            </p:cNvPicPr>
            <p:nvPr/>
          </p:nvPicPr>
          <p:blipFill rotWithShape="1">
            <a:blip r:embed="rId39" cstate="email">
              <a:extLst>
                <a:ext uri="{28A0092B-C50C-407E-A947-70E740481C1C}">
                  <a14:useLocalDpi xmlns:a14="http://schemas.microsoft.com/office/drawing/2010/main"/>
                </a:ext>
              </a:extLst>
            </a:blip>
            <a:srcRect l="27507" t="43219" r="13043" b="41919"/>
            <a:stretch/>
          </p:blipFill>
          <p:spPr>
            <a:xfrm>
              <a:off x="8355726" y="4251715"/>
              <a:ext cx="1014758" cy="173978"/>
            </a:xfrm>
            <a:prstGeom prst="rect">
              <a:avLst/>
            </a:prstGeom>
          </p:spPr>
        </p:pic>
        <p:pic>
          <p:nvPicPr>
            <p:cNvPr id="19" name="Picture 18">
              <a:extLst>
                <a:ext uri="{FF2B5EF4-FFF2-40B4-BE49-F238E27FC236}">
                  <a16:creationId xmlns:a16="http://schemas.microsoft.com/office/drawing/2014/main" id="{FB49CA4B-40D9-F771-6A81-6CF068ACD48C}"/>
                </a:ext>
              </a:extLst>
            </p:cNvPr>
            <p:cNvPicPr>
              <a:picLocks noChangeAspect="1"/>
            </p:cNvPicPr>
            <p:nvPr/>
          </p:nvPicPr>
          <p:blipFill rotWithShape="1">
            <a:blip r:embed="rId40" cstate="email">
              <a:extLst>
                <a:ext uri="{28A0092B-C50C-407E-A947-70E740481C1C}">
                  <a14:useLocalDpi xmlns:a14="http://schemas.microsoft.com/office/drawing/2010/main"/>
                </a:ext>
              </a:extLst>
            </a:blip>
            <a:srcRect l="31078" t="19298" r="31078" b="13376"/>
            <a:stretch/>
          </p:blipFill>
          <p:spPr>
            <a:xfrm>
              <a:off x="8465987" y="3457602"/>
              <a:ext cx="787656" cy="810256"/>
            </a:xfrm>
            <a:prstGeom prst="rect">
              <a:avLst/>
            </a:prstGeom>
          </p:spPr>
        </p:pic>
      </p:grpSp>
      <p:pic>
        <p:nvPicPr>
          <p:cNvPr id="20" name="Picture 19" descr="Logo&#10;&#10;Description automatically generated">
            <a:extLst>
              <a:ext uri="{FF2B5EF4-FFF2-40B4-BE49-F238E27FC236}">
                <a16:creationId xmlns:a16="http://schemas.microsoft.com/office/drawing/2014/main" id="{EE320FA1-4A2B-282B-BA96-E330464383D2}"/>
              </a:ext>
            </a:extLst>
          </p:cNvPr>
          <p:cNvPicPr>
            <a:picLocks noChangeAspect="1"/>
          </p:cNvPicPr>
          <p:nvPr/>
        </p:nvPicPr>
        <p:blipFill>
          <a:blip r:embed="rId4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690744" y="4484656"/>
            <a:ext cx="666361" cy="348228"/>
          </a:xfrm>
          <a:prstGeom prst="rect">
            <a:avLst/>
          </a:prstGeom>
        </p:spPr>
      </p:pic>
      <p:pic>
        <p:nvPicPr>
          <p:cNvPr id="21" name="Picture 20" descr="Logo, company name&#10;&#10;Description automatically generated">
            <a:extLst>
              <a:ext uri="{FF2B5EF4-FFF2-40B4-BE49-F238E27FC236}">
                <a16:creationId xmlns:a16="http://schemas.microsoft.com/office/drawing/2014/main" id="{E3C35628-064A-608D-576D-BF15B29486E9}"/>
              </a:ext>
            </a:extLst>
          </p:cNvPr>
          <p:cNvPicPr>
            <a:picLocks noChangeAspect="1"/>
          </p:cNvPicPr>
          <p:nvPr/>
        </p:nvPicPr>
        <p:blipFill>
          <a:blip r:embed="rId4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321128" y="4449135"/>
            <a:ext cx="507882" cy="282963"/>
          </a:xfrm>
          <a:prstGeom prst="rect">
            <a:avLst/>
          </a:prstGeom>
        </p:spPr>
      </p:pic>
      <p:pic>
        <p:nvPicPr>
          <p:cNvPr id="22" name="Picture 21" descr="Logo, company name&#10;&#10;Description automatically generated">
            <a:extLst>
              <a:ext uri="{FF2B5EF4-FFF2-40B4-BE49-F238E27FC236}">
                <a16:creationId xmlns:a16="http://schemas.microsoft.com/office/drawing/2014/main" id="{1B1673BE-6564-88BA-881D-5EACC714A5F4}"/>
              </a:ext>
            </a:extLst>
          </p:cNvPr>
          <p:cNvPicPr>
            <a:picLocks noChangeAspect="1"/>
          </p:cNvPicPr>
          <p:nvPr/>
        </p:nvPicPr>
        <p:blipFill>
          <a:blip r:embed="rId4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808021" y="3941837"/>
            <a:ext cx="550887" cy="367258"/>
          </a:xfrm>
          <a:prstGeom prst="rect">
            <a:avLst/>
          </a:prstGeom>
        </p:spPr>
      </p:pic>
      <p:pic>
        <p:nvPicPr>
          <p:cNvPr id="23" name="Picture 22" descr="Logo, company name&#10;&#10;Description automatically generated">
            <a:extLst>
              <a:ext uri="{FF2B5EF4-FFF2-40B4-BE49-F238E27FC236}">
                <a16:creationId xmlns:a16="http://schemas.microsoft.com/office/drawing/2014/main" id="{F4538B5A-144F-3189-54A6-F2C248C4B493}"/>
              </a:ext>
            </a:extLst>
          </p:cNvPr>
          <p:cNvPicPr>
            <a:picLocks noChangeAspect="1"/>
          </p:cNvPicPr>
          <p:nvPr/>
        </p:nvPicPr>
        <p:blipFill rotWithShape="1">
          <a:blip r:embed="rId44" cstate="print">
            <a:clrChange>
              <a:clrFrom>
                <a:srgbClr val="F3F2F0"/>
              </a:clrFrom>
              <a:clrTo>
                <a:srgbClr val="F3F2F0">
                  <a:alpha val="0"/>
                </a:srgbClr>
              </a:clrTo>
            </a:clrChange>
            <a:extLst>
              <a:ext uri="{28A0092B-C50C-407E-A947-70E740481C1C}">
                <a14:useLocalDpi xmlns:a14="http://schemas.microsoft.com/office/drawing/2010/main" val="0"/>
              </a:ext>
            </a:extLst>
          </a:blip>
          <a:srcRect l="9697" t="34760" r="12709" b="33497"/>
          <a:stretch/>
        </p:blipFill>
        <p:spPr>
          <a:xfrm>
            <a:off x="11205196" y="3615278"/>
            <a:ext cx="625181" cy="134478"/>
          </a:xfrm>
          <a:prstGeom prst="rect">
            <a:avLst/>
          </a:prstGeom>
        </p:spPr>
      </p:pic>
      <p:pic>
        <p:nvPicPr>
          <p:cNvPr id="24" name="Picture 23" descr="A blue and white sign&#10;&#10;Description automatically generated with low confidence">
            <a:extLst>
              <a:ext uri="{FF2B5EF4-FFF2-40B4-BE49-F238E27FC236}">
                <a16:creationId xmlns:a16="http://schemas.microsoft.com/office/drawing/2014/main" id="{9C5D2E99-4453-11D3-12F6-9081A83A5796}"/>
              </a:ext>
            </a:extLst>
          </p:cNvPr>
          <p:cNvPicPr>
            <a:picLocks noChangeAspect="1"/>
          </p:cNvPicPr>
          <p:nvPr/>
        </p:nvPicPr>
        <p:blipFill>
          <a:blip r:embed="rId4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451398" y="4005843"/>
            <a:ext cx="631030" cy="196216"/>
          </a:xfrm>
          <a:prstGeom prst="rect">
            <a:avLst/>
          </a:prstGeom>
        </p:spPr>
      </p:pic>
      <p:pic>
        <p:nvPicPr>
          <p:cNvPr id="25" name="Picture 24" descr="Logo, company name&#10;&#10;Description automatically generated">
            <a:extLst>
              <a:ext uri="{FF2B5EF4-FFF2-40B4-BE49-F238E27FC236}">
                <a16:creationId xmlns:a16="http://schemas.microsoft.com/office/drawing/2014/main" id="{DCFA5552-0DAB-382A-74AE-4E2C5D4119A2}"/>
              </a:ext>
            </a:extLst>
          </p:cNvPr>
          <p:cNvPicPr>
            <a:picLocks noChangeAspect="1"/>
          </p:cNvPicPr>
          <p:nvPr/>
        </p:nvPicPr>
        <p:blipFill rotWithShape="1">
          <a:blip r:embed="rId46" cstate="print">
            <a:clrChange>
              <a:clrFrom>
                <a:srgbClr val="FFFFFF"/>
              </a:clrFrom>
              <a:clrTo>
                <a:srgbClr val="FFFFFF">
                  <a:alpha val="0"/>
                </a:srgbClr>
              </a:clrTo>
            </a:clrChange>
            <a:extLst>
              <a:ext uri="{28A0092B-C50C-407E-A947-70E740481C1C}">
                <a14:useLocalDpi xmlns:a14="http://schemas.microsoft.com/office/drawing/2010/main" val="0"/>
              </a:ext>
            </a:extLst>
          </a:blip>
          <a:srcRect t="33475" b="31862"/>
          <a:stretch/>
        </p:blipFill>
        <p:spPr>
          <a:xfrm>
            <a:off x="10268503" y="3536603"/>
            <a:ext cx="769327" cy="266665"/>
          </a:xfrm>
          <a:prstGeom prst="rect">
            <a:avLst/>
          </a:prstGeom>
        </p:spPr>
      </p:pic>
      <p:pic>
        <p:nvPicPr>
          <p:cNvPr id="26" name="Picture 25">
            <a:extLst>
              <a:ext uri="{FF2B5EF4-FFF2-40B4-BE49-F238E27FC236}">
                <a16:creationId xmlns:a16="http://schemas.microsoft.com/office/drawing/2014/main" id="{21DF12D7-013A-866F-2A93-5EC466D707E2}"/>
              </a:ext>
            </a:extLst>
          </p:cNvPr>
          <p:cNvPicPr>
            <a:picLocks noChangeAspect="1"/>
          </p:cNvPicPr>
          <p:nvPr/>
        </p:nvPicPr>
        <p:blipFill>
          <a:blip r:embed="rId47" cstate="email">
            <a:clrChange>
              <a:clrFrom>
                <a:srgbClr val="000000"/>
              </a:clrFrom>
              <a:clrTo>
                <a:srgbClr val="000000">
                  <a:alpha val="0"/>
                </a:srgbClr>
              </a:clrTo>
            </a:clrChange>
            <a:extLst>
              <a:ext uri="{28A0092B-C50C-407E-A947-70E740481C1C}">
                <a14:useLocalDpi xmlns:a14="http://schemas.microsoft.com/office/drawing/2010/main"/>
              </a:ext>
            </a:extLst>
          </a:blip>
          <a:stretch>
            <a:fillRect/>
          </a:stretch>
        </p:blipFill>
        <p:spPr>
          <a:xfrm>
            <a:off x="8692918" y="4495556"/>
            <a:ext cx="977934" cy="261947"/>
          </a:xfrm>
          <a:prstGeom prst="rect">
            <a:avLst/>
          </a:prstGeom>
          <a:solidFill>
            <a:schemeClr val="tx1"/>
          </a:solidFill>
        </p:spPr>
      </p:pic>
      <p:pic>
        <p:nvPicPr>
          <p:cNvPr id="27" name="Picture 26" descr="Logo, company name&#10;&#10;Description automatically generated">
            <a:extLst>
              <a:ext uri="{FF2B5EF4-FFF2-40B4-BE49-F238E27FC236}">
                <a16:creationId xmlns:a16="http://schemas.microsoft.com/office/drawing/2014/main" id="{6376E98E-F5C5-6C28-7AEA-4A736543B98A}"/>
              </a:ext>
            </a:extLst>
          </p:cNvPr>
          <p:cNvPicPr>
            <a:picLocks noChangeAspect="1"/>
          </p:cNvPicPr>
          <p:nvPr/>
        </p:nvPicPr>
        <p:blipFill>
          <a:blip r:embed="rId48"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751685" y="5428581"/>
            <a:ext cx="882988" cy="193154"/>
          </a:xfrm>
          <a:prstGeom prst="rect">
            <a:avLst/>
          </a:prstGeom>
        </p:spPr>
      </p:pic>
      <p:pic>
        <p:nvPicPr>
          <p:cNvPr id="33" name="Picture 32" descr="Logo, company name&#10;&#10;Description automatically generated">
            <a:extLst>
              <a:ext uri="{FF2B5EF4-FFF2-40B4-BE49-F238E27FC236}">
                <a16:creationId xmlns:a16="http://schemas.microsoft.com/office/drawing/2014/main" id="{21177A54-08D8-4C80-5C35-36A43F39F3C1}"/>
              </a:ext>
            </a:extLst>
          </p:cNvPr>
          <p:cNvPicPr>
            <a:picLocks noChangeAspect="1"/>
          </p:cNvPicPr>
          <p:nvPr/>
        </p:nvPicPr>
        <p:blipFill rotWithShape="1">
          <a:blip r:embed="rId49" cstate="print">
            <a:clrChange>
              <a:clrFrom>
                <a:srgbClr val="FFFFFF"/>
              </a:clrFrom>
              <a:clrTo>
                <a:srgbClr val="FFFFFF">
                  <a:alpha val="0"/>
                </a:srgbClr>
              </a:clrTo>
            </a:clrChange>
            <a:extLst>
              <a:ext uri="{28A0092B-C50C-407E-A947-70E740481C1C}">
                <a14:useLocalDpi xmlns:a14="http://schemas.microsoft.com/office/drawing/2010/main" val="0"/>
              </a:ext>
            </a:extLst>
          </a:blip>
          <a:srcRect l="10393" t="30847" r="10668" b="24841"/>
          <a:stretch/>
        </p:blipFill>
        <p:spPr>
          <a:xfrm>
            <a:off x="7502540" y="5312113"/>
            <a:ext cx="626223" cy="351541"/>
          </a:xfrm>
          <a:prstGeom prst="rect">
            <a:avLst/>
          </a:prstGeom>
        </p:spPr>
      </p:pic>
      <p:pic>
        <p:nvPicPr>
          <p:cNvPr id="64" name="Picture 63" descr="Logo, company name&#10;&#10;Description automatically generated">
            <a:extLst>
              <a:ext uri="{FF2B5EF4-FFF2-40B4-BE49-F238E27FC236}">
                <a16:creationId xmlns:a16="http://schemas.microsoft.com/office/drawing/2014/main" id="{D423D8B9-66DF-D106-4978-75A8FBA09FBD}"/>
              </a:ext>
            </a:extLst>
          </p:cNvPr>
          <p:cNvPicPr>
            <a:picLocks noChangeAspect="1"/>
          </p:cNvPicPr>
          <p:nvPr/>
        </p:nvPicPr>
        <p:blipFill>
          <a:blip r:embed="rId50"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134482" y="5460327"/>
            <a:ext cx="762189" cy="179436"/>
          </a:xfrm>
          <a:prstGeom prst="rect">
            <a:avLst/>
          </a:prstGeom>
        </p:spPr>
      </p:pic>
      <p:pic>
        <p:nvPicPr>
          <p:cNvPr id="87" name="Picture 86" descr="Logo, company name&#10;&#10;Description automatically generated">
            <a:extLst>
              <a:ext uri="{FF2B5EF4-FFF2-40B4-BE49-F238E27FC236}">
                <a16:creationId xmlns:a16="http://schemas.microsoft.com/office/drawing/2014/main" id="{26493DB8-A2D0-7C4F-F628-F6EF7D4501BD}"/>
              </a:ext>
            </a:extLst>
          </p:cNvPr>
          <p:cNvPicPr>
            <a:picLocks noChangeAspect="1"/>
          </p:cNvPicPr>
          <p:nvPr/>
        </p:nvPicPr>
        <p:blipFill rotWithShape="1">
          <a:blip r:embed="rId51" cstate="print">
            <a:clrChange>
              <a:clrFrom>
                <a:srgbClr val="FFFFFF"/>
              </a:clrFrom>
              <a:clrTo>
                <a:srgbClr val="FFFFFF">
                  <a:alpha val="0"/>
                </a:srgbClr>
              </a:clrTo>
            </a:clrChange>
            <a:extLst>
              <a:ext uri="{28A0092B-C50C-407E-A947-70E740481C1C}">
                <a14:useLocalDpi xmlns:a14="http://schemas.microsoft.com/office/drawing/2010/main" val="0"/>
              </a:ext>
            </a:extLst>
          </a:blip>
          <a:srcRect l="5939" t="30929" b="26565"/>
          <a:stretch/>
        </p:blipFill>
        <p:spPr>
          <a:xfrm>
            <a:off x="6788790" y="5424087"/>
            <a:ext cx="791639" cy="179436"/>
          </a:xfrm>
          <a:prstGeom prst="rect">
            <a:avLst/>
          </a:prstGeom>
        </p:spPr>
      </p:pic>
      <p:pic>
        <p:nvPicPr>
          <p:cNvPr id="89" name="Picture 88" descr="Text, logo&#10;&#10;Description automatically generated">
            <a:extLst>
              <a:ext uri="{FF2B5EF4-FFF2-40B4-BE49-F238E27FC236}">
                <a16:creationId xmlns:a16="http://schemas.microsoft.com/office/drawing/2014/main" id="{250CE26C-7286-95BC-F3AD-DDBD2BC322B5}"/>
              </a:ext>
            </a:extLst>
          </p:cNvPr>
          <p:cNvPicPr>
            <a:picLocks noChangeAspect="1"/>
          </p:cNvPicPr>
          <p:nvPr/>
        </p:nvPicPr>
        <p:blipFill>
          <a:blip r:embed="rId52" cstate="print">
            <a:extLst>
              <a:ext uri="{28A0092B-C50C-407E-A947-70E740481C1C}">
                <a14:useLocalDpi xmlns:a14="http://schemas.microsoft.com/office/drawing/2010/main" val="0"/>
              </a:ext>
            </a:extLst>
          </a:blip>
          <a:stretch>
            <a:fillRect/>
          </a:stretch>
        </p:blipFill>
        <p:spPr>
          <a:xfrm>
            <a:off x="3745660" y="5795994"/>
            <a:ext cx="589831" cy="191040"/>
          </a:xfrm>
          <a:prstGeom prst="rect">
            <a:avLst/>
          </a:prstGeom>
        </p:spPr>
      </p:pic>
      <p:pic>
        <p:nvPicPr>
          <p:cNvPr id="90" name="Picture 89" descr="Logo, company name&#10;&#10;Description automatically generated">
            <a:extLst>
              <a:ext uri="{FF2B5EF4-FFF2-40B4-BE49-F238E27FC236}">
                <a16:creationId xmlns:a16="http://schemas.microsoft.com/office/drawing/2014/main" id="{E1AD73CA-4CAC-1320-1AD4-F462A7DC20AC}"/>
              </a:ext>
            </a:extLst>
          </p:cNvPr>
          <p:cNvPicPr>
            <a:picLocks noChangeAspect="1"/>
          </p:cNvPicPr>
          <p:nvPr/>
        </p:nvPicPr>
        <p:blipFill>
          <a:blip r:embed="rId5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905893" y="5729018"/>
            <a:ext cx="589831" cy="372462"/>
          </a:xfrm>
          <a:prstGeom prst="rect">
            <a:avLst/>
          </a:prstGeom>
        </p:spPr>
      </p:pic>
      <p:pic>
        <p:nvPicPr>
          <p:cNvPr id="91" name="Picture 90" descr="Logo, company name&#10;&#10;Description automatically generated">
            <a:extLst>
              <a:ext uri="{FF2B5EF4-FFF2-40B4-BE49-F238E27FC236}">
                <a16:creationId xmlns:a16="http://schemas.microsoft.com/office/drawing/2014/main" id="{5EEAEA3C-3C30-50D9-F14F-3C85C428027B}"/>
              </a:ext>
            </a:extLst>
          </p:cNvPr>
          <p:cNvPicPr>
            <a:picLocks noChangeAspect="1"/>
          </p:cNvPicPr>
          <p:nvPr/>
        </p:nvPicPr>
        <p:blipFill>
          <a:blip r:embed="rId54" cstate="print">
            <a:extLst>
              <a:ext uri="{28A0092B-C50C-407E-A947-70E740481C1C}">
                <a14:useLocalDpi xmlns:a14="http://schemas.microsoft.com/office/drawing/2010/main" val="0"/>
              </a:ext>
            </a:extLst>
          </a:blip>
          <a:stretch>
            <a:fillRect/>
          </a:stretch>
        </p:blipFill>
        <p:spPr>
          <a:xfrm>
            <a:off x="4537014" y="5792647"/>
            <a:ext cx="362018" cy="311002"/>
          </a:xfrm>
          <a:prstGeom prst="rect">
            <a:avLst/>
          </a:prstGeom>
        </p:spPr>
      </p:pic>
      <p:pic>
        <p:nvPicPr>
          <p:cNvPr id="92" name="Picture 91" descr="Text&#10;&#10;Description automatically generated">
            <a:extLst>
              <a:ext uri="{FF2B5EF4-FFF2-40B4-BE49-F238E27FC236}">
                <a16:creationId xmlns:a16="http://schemas.microsoft.com/office/drawing/2014/main" id="{BFBAEBB5-7A46-C6D7-1673-54B1B7BDF3C4}"/>
              </a:ext>
            </a:extLst>
          </p:cNvPr>
          <p:cNvPicPr>
            <a:picLocks noChangeAspect="1"/>
          </p:cNvPicPr>
          <p:nvPr/>
        </p:nvPicPr>
        <p:blipFill>
          <a:blip r:embed="rId55" cstate="print">
            <a:extLst>
              <a:ext uri="{28A0092B-C50C-407E-A947-70E740481C1C}">
                <a14:useLocalDpi xmlns:a14="http://schemas.microsoft.com/office/drawing/2010/main" val="0"/>
              </a:ext>
            </a:extLst>
          </a:blip>
          <a:stretch>
            <a:fillRect/>
          </a:stretch>
        </p:blipFill>
        <p:spPr>
          <a:xfrm>
            <a:off x="8185789" y="5264684"/>
            <a:ext cx="967291" cy="339115"/>
          </a:xfrm>
          <a:prstGeom prst="rect">
            <a:avLst/>
          </a:prstGeom>
        </p:spPr>
      </p:pic>
      <p:pic>
        <p:nvPicPr>
          <p:cNvPr id="93" name="Picture 92" descr="A picture containing text, clipart, gear&#10;&#10;Description automatically generated">
            <a:extLst>
              <a:ext uri="{FF2B5EF4-FFF2-40B4-BE49-F238E27FC236}">
                <a16:creationId xmlns:a16="http://schemas.microsoft.com/office/drawing/2014/main" id="{B92A39DA-2E64-899D-7781-830CC9F5C64C}"/>
              </a:ext>
            </a:extLst>
          </p:cNvPr>
          <p:cNvPicPr>
            <a:picLocks noChangeAspect="1"/>
          </p:cNvPicPr>
          <p:nvPr/>
        </p:nvPicPr>
        <p:blipFill>
          <a:blip r:embed="rId56"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418306" y="5333616"/>
            <a:ext cx="570917" cy="166060"/>
          </a:xfrm>
          <a:prstGeom prst="rect">
            <a:avLst/>
          </a:prstGeom>
        </p:spPr>
      </p:pic>
      <p:pic>
        <p:nvPicPr>
          <p:cNvPr id="94" name="Picture 93" descr="Logo&#10;&#10;Description automatically generated">
            <a:extLst>
              <a:ext uri="{FF2B5EF4-FFF2-40B4-BE49-F238E27FC236}">
                <a16:creationId xmlns:a16="http://schemas.microsoft.com/office/drawing/2014/main" id="{3715C04E-D532-0E7C-AD49-AEC4EA86EF2E}"/>
              </a:ext>
            </a:extLst>
          </p:cNvPr>
          <p:cNvPicPr>
            <a:picLocks noChangeAspect="1"/>
          </p:cNvPicPr>
          <p:nvPr/>
        </p:nvPicPr>
        <p:blipFill>
          <a:blip r:embed="rId5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910739" y="5268713"/>
            <a:ext cx="485631" cy="252965"/>
          </a:xfrm>
          <a:prstGeom prst="rect">
            <a:avLst/>
          </a:prstGeom>
        </p:spPr>
      </p:pic>
      <p:pic>
        <p:nvPicPr>
          <p:cNvPr id="95" name="Picture 94" descr="Logo, company name&#10;&#10;Description automatically generated">
            <a:extLst>
              <a:ext uri="{FF2B5EF4-FFF2-40B4-BE49-F238E27FC236}">
                <a16:creationId xmlns:a16="http://schemas.microsoft.com/office/drawing/2014/main" id="{66A9673C-8121-59D4-85A3-E8D970359A35}"/>
              </a:ext>
            </a:extLst>
          </p:cNvPr>
          <p:cNvPicPr>
            <a:picLocks noChangeAspect="1"/>
          </p:cNvPicPr>
          <p:nvPr/>
        </p:nvPicPr>
        <p:blipFill rotWithShape="1">
          <a:blip r:embed="rId58" cstate="print">
            <a:clrChange>
              <a:clrFrom>
                <a:srgbClr val="FFFFFF"/>
              </a:clrFrom>
              <a:clrTo>
                <a:srgbClr val="FFFFFF">
                  <a:alpha val="0"/>
                </a:srgbClr>
              </a:clrTo>
            </a:clrChange>
            <a:extLst>
              <a:ext uri="{28A0092B-C50C-407E-A947-70E740481C1C}">
                <a14:useLocalDpi xmlns:a14="http://schemas.microsoft.com/office/drawing/2010/main" val="0"/>
              </a:ext>
            </a:extLst>
          </a:blip>
          <a:srcRect l="12599" t="12724" r="12610" b="10761"/>
          <a:stretch/>
        </p:blipFill>
        <p:spPr>
          <a:xfrm>
            <a:off x="6658501" y="5696147"/>
            <a:ext cx="399053" cy="408251"/>
          </a:xfrm>
          <a:prstGeom prst="rect">
            <a:avLst/>
          </a:prstGeom>
        </p:spPr>
      </p:pic>
      <p:pic>
        <p:nvPicPr>
          <p:cNvPr id="96" name="Picture 95" descr="Logo&#10;&#10;Description automatically generated with medium confidence">
            <a:extLst>
              <a:ext uri="{FF2B5EF4-FFF2-40B4-BE49-F238E27FC236}">
                <a16:creationId xmlns:a16="http://schemas.microsoft.com/office/drawing/2014/main" id="{F48E3D8A-1A7B-90D8-AE4E-CDA4D92B3F7F}"/>
              </a:ext>
            </a:extLst>
          </p:cNvPr>
          <p:cNvPicPr>
            <a:picLocks noChangeAspect="1"/>
          </p:cNvPicPr>
          <p:nvPr/>
        </p:nvPicPr>
        <p:blipFill rotWithShape="1">
          <a:blip r:embed="rId59">
            <a:clrChange>
              <a:clrFrom>
                <a:srgbClr val="FFFFFF"/>
              </a:clrFrom>
              <a:clrTo>
                <a:srgbClr val="FFFFFF">
                  <a:alpha val="0"/>
                </a:srgbClr>
              </a:clrTo>
            </a:clrChange>
            <a:extLst>
              <a:ext uri="{28A0092B-C50C-407E-A947-70E740481C1C}">
                <a14:useLocalDpi xmlns:a14="http://schemas.microsoft.com/office/drawing/2010/main" val="0"/>
              </a:ext>
            </a:extLst>
          </a:blip>
          <a:srcRect l="13226" t="32385" r="12700" b="35636"/>
          <a:stretch/>
        </p:blipFill>
        <p:spPr>
          <a:xfrm>
            <a:off x="9830507" y="5314123"/>
            <a:ext cx="1058296" cy="240235"/>
          </a:xfrm>
          <a:prstGeom prst="rect">
            <a:avLst/>
          </a:prstGeom>
        </p:spPr>
      </p:pic>
      <p:pic>
        <p:nvPicPr>
          <p:cNvPr id="97" name="Picture 2" descr="Download Logo Aig PNG Free Photo HQ PNG Image | FreePNGImg">
            <a:extLst>
              <a:ext uri="{FF2B5EF4-FFF2-40B4-BE49-F238E27FC236}">
                <a16:creationId xmlns:a16="http://schemas.microsoft.com/office/drawing/2014/main" id="{E7B9252A-6660-CC6E-0A7D-BD48A5C8AB7A}"/>
              </a:ext>
            </a:extLst>
          </p:cNvPr>
          <p:cNvPicPr>
            <a:picLocks noChangeAspect="1" noChangeArrowheads="1"/>
          </p:cNvPicPr>
          <p:nvPr/>
        </p:nvPicPr>
        <p:blipFill>
          <a:blip r:embed="rId60" cstate="print">
            <a:extLst>
              <a:ext uri="{28A0092B-C50C-407E-A947-70E740481C1C}">
                <a14:useLocalDpi xmlns:a14="http://schemas.microsoft.com/office/drawing/2010/main" val="0"/>
              </a:ext>
            </a:extLst>
          </a:blip>
          <a:srcRect/>
          <a:stretch>
            <a:fillRect/>
          </a:stretch>
        </p:blipFill>
        <p:spPr bwMode="auto">
          <a:xfrm>
            <a:off x="5134812" y="5892420"/>
            <a:ext cx="598474" cy="339114"/>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97" descr="Logo&#10;&#10;Description automatically generated">
            <a:extLst>
              <a:ext uri="{FF2B5EF4-FFF2-40B4-BE49-F238E27FC236}">
                <a16:creationId xmlns:a16="http://schemas.microsoft.com/office/drawing/2014/main" id="{ED36244A-7F3E-8DCB-7A6D-36E878BE7371}"/>
              </a:ext>
            </a:extLst>
          </p:cNvPr>
          <p:cNvPicPr>
            <a:picLocks noChangeAspect="1"/>
          </p:cNvPicPr>
          <p:nvPr/>
        </p:nvPicPr>
        <p:blipFill>
          <a:blip r:embed="rId61" cstate="print">
            <a:extLst>
              <a:ext uri="{28A0092B-C50C-407E-A947-70E740481C1C}">
                <a14:useLocalDpi xmlns:a14="http://schemas.microsoft.com/office/drawing/2010/main" val="0"/>
              </a:ext>
            </a:extLst>
          </a:blip>
          <a:stretch>
            <a:fillRect/>
          </a:stretch>
        </p:blipFill>
        <p:spPr>
          <a:xfrm>
            <a:off x="7184609" y="5750747"/>
            <a:ext cx="610653" cy="197401"/>
          </a:xfrm>
          <a:prstGeom prst="rect">
            <a:avLst/>
          </a:prstGeom>
        </p:spPr>
      </p:pic>
      <p:pic>
        <p:nvPicPr>
          <p:cNvPr id="105" name="Picture 104" descr="Logo, company name&#10;&#10;Description automatically generated">
            <a:extLst>
              <a:ext uri="{FF2B5EF4-FFF2-40B4-BE49-F238E27FC236}">
                <a16:creationId xmlns:a16="http://schemas.microsoft.com/office/drawing/2014/main" id="{91ED49C8-3165-85B9-858D-9E32456E6AC3}"/>
              </a:ext>
            </a:extLst>
          </p:cNvPr>
          <p:cNvPicPr>
            <a:picLocks noChangeAspect="1"/>
          </p:cNvPicPr>
          <p:nvPr/>
        </p:nvPicPr>
        <p:blipFill>
          <a:blip r:embed="rId6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245301" y="5224664"/>
            <a:ext cx="512226" cy="432453"/>
          </a:xfrm>
          <a:prstGeom prst="rect">
            <a:avLst/>
          </a:prstGeom>
        </p:spPr>
      </p:pic>
      <p:pic>
        <p:nvPicPr>
          <p:cNvPr id="109" name="Picture 108" descr="A picture containing text, clipart, vector graphics&#10;&#10;Description automatically generated">
            <a:extLst>
              <a:ext uri="{FF2B5EF4-FFF2-40B4-BE49-F238E27FC236}">
                <a16:creationId xmlns:a16="http://schemas.microsoft.com/office/drawing/2014/main" id="{F6031E34-F683-8C17-1CE8-433349878BF0}"/>
              </a:ext>
            </a:extLst>
          </p:cNvPr>
          <p:cNvPicPr>
            <a:picLocks noChangeAspect="1"/>
          </p:cNvPicPr>
          <p:nvPr/>
        </p:nvPicPr>
        <p:blipFill>
          <a:blip r:embed="rId63" cstate="print">
            <a:extLst>
              <a:ext uri="{28A0092B-C50C-407E-A947-70E740481C1C}">
                <a14:useLocalDpi xmlns:a14="http://schemas.microsoft.com/office/drawing/2010/main" val="0"/>
              </a:ext>
            </a:extLst>
          </a:blip>
          <a:stretch>
            <a:fillRect/>
          </a:stretch>
        </p:blipFill>
        <p:spPr>
          <a:xfrm>
            <a:off x="4587725" y="6231277"/>
            <a:ext cx="630044" cy="235142"/>
          </a:xfrm>
          <a:prstGeom prst="rect">
            <a:avLst/>
          </a:prstGeom>
        </p:spPr>
      </p:pic>
      <p:pic>
        <p:nvPicPr>
          <p:cNvPr id="110" name="Picture 109" descr="A picture containing graphical user interface&#10;&#10;Description automatically generated">
            <a:extLst>
              <a:ext uri="{FF2B5EF4-FFF2-40B4-BE49-F238E27FC236}">
                <a16:creationId xmlns:a16="http://schemas.microsoft.com/office/drawing/2014/main" id="{24D9AA37-D817-E7FC-F4DE-C972A8CC5980}"/>
              </a:ext>
            </a:extLst>
          </p:cNvPr>
          <p:cNvPicPr>
            <a:picLocks noChangeAspect="1"/>
          </p:cNvPicPr>
          <p:nvPr/>
        </p:nvPicPr>
        <p:blipFill>
          <a:blip r:embed="rId64" cstate="print">
            <a:extLst>
              <a:ext uri="{28A0092B-C50C-407E-A947-70E740481C1C}">
                <a14:useLocalDpi xmlns:a14="http://schemas.microsoft.com/office/drawing/2010/main" val="0"/>
              </a:ext>
            </a:extLst>
          </a:blip>
          <a:stretch>
            <a:fillRect/>
          </a:stretch>
        </p:blipFill>
        <p:spPr>
          <a:xfrm>
            <a:off x="7537838" y="6106387"/>
            <a:ext cx="452578" cy="452578"/>
          </a:xfrm>
          <a:prstGeom prst="rect">
            <a:avLst/>
          </a:prstGeom>
        </p:spPr>
      </p:pic>
      <p:pic>
        <p:nvPicPr>
          <p:cNvPr id="111" name="Picture 110" descr="A picture containing text, clipart&#10;&#10;Description automatically generated">
            <a:extLst>
              <a:ext uri="{FF2B5EF4-FFF2-40B4-BE49-F238E27FC236}">
                <a16:creationId xmlns:a16="http://schemas.microsoft.com/office/drawing/2014/main" id="{E63BF7D3-7F50-45D6-C19E-2771D939E9D5}"/>
              </a:ext>
            </a:extLst>
          </p:cNvPr>
          <p:cNvPicPr>
            <a:picLocks noChangeAspect="1"/>
          </p:cNvPicPr>
          <p:nvPr/>
        </p:nvPicPr>
        <p:blipFill rotWithShape="1">
          <a:blip r:embed="rId65" cstate="print">
            <a:clrChange>
              <a:clrFrom>
                <a:srgbClr val="FFFFFF"/>
              </a:clrFrom>
              <a:clrTo>
                <a:srgbClr val="FFFFFF">
                  <a:alpha val="0"/>
                </a:srgbClr>
              </a:clrTo>
            </a:clrChange>
            <a:extLst>
              <a:ext uri="{28A0092B-C50C-407E-A947-70E740481C1C}">
                <a14:useLocalDpi xmlns:a14="http://schemas.microsoft.com/office/drawing/2010/main" val="0"/>
              </a:ext>
            </a:extLst>
          </a:blip>
          <a:srcRect l="17660" t="-2976" r="17813" b="29617"/>
          <a:stretch/>
        </p:blipFill>
        <p:spPr>
          <a:xfrm>
            <a:off x="5099959" y="6521029"/>
            <a:ext cx="652063" cy="212310"/>
          </a:xfrm>
          <a:prstGeom prst="rect">
            <a:avLst/>
          </a:prstGeom>
        </p:spPr>
      </p:pic>
      <p:pic>
        <p:nvPicPr>
          <p:cNvPr id="112" name="Picture 111" descr="A picture containing text, clipart&#10;&#10;Description automatically generated">
            <a:extLst>
              <a:ext uri="{FF2B5EF4-FFF2-40B4-BE49-F238E27FC236}">
                <a16:creationId xmlns:a16="http://schemas.microsoft.com/office/drawing/2014/main" id="{5CFECD2C-BDF4-6A97-4878-658644CE26A3}"/>
              </a:ext>
            </a:extLst>
          </p:cNvPr>
          <p:cNvPicPr>
            <a:picLocks noChangeAspect="1"/>
          </p:cNvPicPr>
          <p:nvPr/>
        </p:nvPicPr>
        <p:blipFill>
          <a:blip r:embed="rId66"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038319" y="6230003"/>
            <a:ext cx="710028" cy="84020"/>
          </a:xfrm>
          <a:prstGeom prst="rect">
            <a:avLst/>
          </a:prstGeom>
        </p:spPr>
      </p:pic>
      <p:pic>
        <p:nvPicPr>
          <p:cNvPr id="113" name="Picture 112" descr="A picture containing text, clipart&#10;&#10;Description automatically generated">
            <a:extLst>
              <a:ext uri="{FF2B5EF4-FFF2-40B4-BE49-F238E27FC236}">
                <a16:creationId xmlns:a16="http://schemas.microsoft.com/office/drawing/2014/main" id="{9E5DCEAD-F50A-32ED-10DA-6AD0404FE9E4}"/>
              </a:ext>
            </a:extLst>
          </p:cNvPr>
          <p:cNvPicPr>
            <a:picLocks noChangeAspect="1"/>
          </p:cNvPicPr>
          <p:nvPr/>
        </p:nvPicPr>
        <p:blipFill>
          <a:blip r:embed="rId6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796824" y="6193790"/>
            <a:ext cx="601261" cy="264930"/>
          </a:xfrm>
          <a:prstGeom prst="rect">
            <a:avLst/>
          </a:prstGeom>
        </p:spPr>
      </p:pic>
      <p:pic>
        <p:nvPicPr>
          <p:cNvPr id="114" name="Picture 113" descr="Logo, company name&#10;&#10;Description automatically generated">
            <a:extLst>
              <a:ext uri="{FF2B5EF4-FFF2-40B4-BE49-F238E27FC236}">
                <a16:creationId xmlns:a16="http://schemas.microsoft.com/office/drawing/2014/main" id="{9011431C-9770-2674-01C0-B078654B5944}"/>
              </a:ext>
            </a:extLst>
          </p:cNvPr>
          <p:cNvPicPr>
            <a:picLocks noChangeAspect="1"/>
          </p:cNvPicPr>
          <p:nvPr/>
        </p:nvPicPr>
        <p:blipFill rotWithShape="1">
          <a:blip r:embed="rId68" cstate="print">
            <a:clrChange>
              <a:clrFrom>
                <a:srgbClr val="FFFFFF"/>
              </a:clrFrom>
              <a:clrTo>
                <a:srgbClr val="FFFFFF">
                  <a:alpha val="0"/>
                </a:srgbClr>
              </a:clrTo>
            </a:clrChange>
            <a:extLst>
              <a:ext uri="{28A0092B-C50C-407E-A947-70E740481C1C}">
                <a14:useLocalDpi xmlns:a14="http://schemas.microsoft.com/office/drawing/2010/main" val="0"/>
              </a:ext>
            </a:extLst>
          </a:blip>
          <a:srcRect t="25385" b="26711"/>
          <a:stretch/>
        </p:blipFill>
        <p:spPr>
          <a:xfrm>
            <a:off x="5984112" y="6491660"/>
            <a:ext cx="877235" cy="235324"/>
          </a:xfrm>
          <a:prstGeom prst="rect">
            <a:avLst/>
          </a:prstGeom>
        </p:spPr>
      </p:pic>
      <p:pic>
        <p:nvPicPr>
          <p:cNvPr id="115" name="Picture 114" descr="Logo&#10;&#10;Description automatically generated">
            <a:extLst>
              <a:ext uri="{FF2B5EF4-FFF2-40B4-BE49-F238E27FC236}">
                <a16:creationId xmlns:a16="http://schemas.microsoft.com/office/drawing/2014/main" id="{E3BB55FA-ABFF-E4C2-4196-E92DCA9828B1}"/>
              </a:ext>
            </a:extLst>
          </p:cNvPr>
          <p:cNvPicPr>
            <a:picLocks noChangeAspect="1"/>
          </p:cNvPicPr>
          <p:nvPr/>
        </p:nvPicPr>
        <p:blipFill>
          <a:blip r:embed="rId69" cstate="print">
            <a:extLst>
              <a:ext uri="{28A0092B-C50C-407E-A947-70E740481C1C}">
                <a14:useLocalDpi xmlns:a14="http://schemas.microsoft.com/office/drawing/2010/main" val="0"/>
              </a:ext>
            </a:extLst>
          </a:blip>
          <a:stretch>
            <a:fillRect/>
          </a:stretch>
        </p:blipFill>
        <p:spPr>
          <a:xfrm>
            <a:off x="6621254" y="6206230"/>
            <a:ext cx="794831" cy="230376"/>
          </a:xfrm>
          <a:prstGeom prst="rect">
            <a:avLst/>
          </a:prstGeom>
        </p:spPr>
      </p:pic>
      <p:pic>
        <p:nvPicPr>
          <p:cNvPr id="116" name="Picture 115">
            <a:extLst>
              <a:ext uri="{FF2B5EF4-FFF2-40B4-BE49-F238E27FC236}">
                <a16:creationId xmlns:a16="http://schemas.microsoft.com/office/drawing/2014/main" id="{90FDBA88-EA3D-3021-6BF8-55CCFC97D821}"/>
              </a:ext>
            </a:extLst>
          </p:cNvPr>
          <p:cNvPicPr>
            <a:picLocks noChangeAspect="1"/>
          </p:cNvPicPr>
          <p:nvPr/>
        </p:nvPicPr>
        <p:blipFill>
          <a:blip r:embed="rId70" cstate="print">
            <a:extLst>
              <a:ext uri="{28A0092B-C50C-407E-A947-70E740481C1C}">
                <a14:useLocalDpi xmlns:a14="http://schemas.microsoft.com/office/drawing/2010/main" val="0"/>
              </a:ext>
            </a:extLst>
          </a:blip>
          <a:srcRect/>
          <a:stretch/>
        </p:blipFill>
        <p:spPr>
          <a:xfrm>
            <a:off x="8810249" y="6081830"/>
            <a:ext cx="743271" cy="203160"/>
          </a:xfrm>
          <a:prstGeom prst="rect">
            <a:avLst/>
          </a:prstGeom>
        </p:spPr>
      </p:pic>
      <p:pic>
        <p:nvPicPr>
          <p:cNvPr id="117" name="Picture 116" descr="Logo&#10;&#10;Description automatically generated">
            <a:extLst>
              <a:ext uri="{FF2B5EF4-FFF2-40B4-BE49-F238E27FC236}">
                <a16:creationId xmlns:a16="http://schemas.microsoft.com/office/drawing/2014/main" id="{187BA343-B0E4-8D35-5FD3-EAEB8B7C3B53}"/>
              </a:ext>
            </a:extLst>
          </p:cNvPr>
          <p:cNvPicPr>
            <a:picLocks noChangeAspect="1"/>
          </p:cNvPicPr>
          <p:nvPr/>
        </p:nvPicPr>
        <p:blipFill>
          <a:blip r:embed="rId71" cstate="print">
            <a:extLst>
              <a:ext uri="{28A0092B-C50C-407E-A947-70E740481C1C}">
                <a14:useLocalDpi xmlns:a14="http://schemas.microsoft.com/office/drawing/2010/main" val="0"/>
              </a:ext>
            </a:extLst>
          </a:blip>
          <a:stretch>
            <a:fillRect/>
          </a:stretch>
        </p:blipFill>
        <p:spPr>
          <a:xfrm>
            <a:off x="7991585" y="5666435"/>
            <a:ext cx="320599" cy="320599"/>
          </a:xfrm>
          <a:prstGeom prst="rect">
            <a:avLst/>
          </a:prstGeom>
        </p:spPr>
      </p:pic>
      <p:pic>
        <p:nvPicPr>
          <p:cNvPr id="118" name="Picture 117" descr="Logo&#10;&#10;Description automatically generated">
            <a:extLst>
              <a:ext uri="{FF2B5EF4-FFF2-40B4-BE49-F238E27FC236}">
                <a16:creationId xmlns:a16="http://schemas.microsoft.com/office/drawing/2014/main" id="{557D0E7B-0FCD-4E74-917C-23C3107570F7}"/>
              </a:ext>
            </a:extLst>
          </p:cNvPr>
          <p:cNvPicPr>
            <a:picLocks noChangeAspect="1"/>
          </p:cNvPicPr>
          <p:nvPr/>
        </p:nvPicPr>
        <p:blipFill>
          <a:blip r:embed="rId72" cstate="print">
            <a:extLst>
              <a:ext uri="{28A0092B-C50C-407E-A947-70E740481C1C}">
                <a14:useLocalDpi xmlns:a14="http://schemas.microsoft.com/office/drawing/2010/main" val="0"/>
              </a:ext>
            </a:extLst>
          </a:blip>
          <a:stretch>
            <a:fillRect/>
          </a:stretch>
        </p:blipFill>
        <p:spPr>
          <a:xfrm>
            <a:off x="9303858" y="5747337"/>
            <a:ext cx="762164" cy="186882"/>
          </a:xfrm>
          <a:prstGeom prst="rect">
            <a:avLst/>
          </a:prstGeom>
        </p:spPr>
      </p:pic>
      <p:pic>
        <p:nvPicPr>
          <p:cNvPr id="119" name="Picture 118" descr="Logo&#10;&#10;Description automatically generated">
            <a:extLst>
              <a:ext uri="{FF2B5EF4-FFF2-40B4-BE49-F238E27FC236}">
                <a16:creationId xmlns:a16="http://schemas.microsoft.com/office/drawing/2014/main" id="{AC711447-DB92-217A-C0C1-17B1FF093D50}"/>
              </a:ext>
            </a:extLst>
          </p:cNvPr>
          <p:cNvPicPr>
            <a:picLocks noChangeAspect="1"/>
          </p:cNvPicPr>
          <p:nvPr/>
        </p:nvPicPr>
        <p:blipFill>
          <a:blip r:embed="rId73" cstate="print">
            <a:extLst>
              <a:ext uri="{28A0092B-C50C-407E-A947-70E740481C1C}">
                <a14:useLocalDpi xmlns:a14="http://schemas.microsoft.com/office/drawing/2010/main" val="0"/>
              </a:ext>
            </a:extLst>
          </a:blip>
          <a:stretch>
            <a:fillRect/>
          </a:stretch>
        </p:blipFill>
        <p:spPr>
          <a:xfrm>
            <a:off x="8433596" y="5761376"/>
            <a:ext cx="748850" cy="220162"/>
          </a:xfrm>
          <a:prstGeom prst="rect">
            <a:avLst/>
          </a:prstGeom>
        </p:spPr>
      </p:pic>
      <p:pic>
        <p:nvPicPr>
          <p:cNvPr id="121" name="Picture 120" descr="A blue and white logo&#10;&#10;Description automatically generated with low confidence">
            <a:extLst>
              <a:ext uri="{FF2B5EF4-FFF2-40B4-BE49-F238E27FC236}">
                <a16:creationId xmlns:a16="http://schemas.microsoft.com/office/drawing/2014/main" id="{11AAF383-B6C9-2F97-A5B9-9CDB65C1AA0C}"/>
              </a:ext>
            </a:extLst>
          </p:cNvPr>
          <p:cNvPicPr>
            <a:picLocks noChangeAspect="1"/>
          </p:cNvPicPr>
          <p:nvPr/>
        </p:nvPicPr>
        <p:blipFill>
          <a:blip r:embed="rId7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171918" y="5653085"/>
            <a:ext cx="976366" cy="235012"/>
          </a:xfrm>
          <a:prstGeom prst="rect">
            <a:avLst/>
          </a:prstGeom>
        </p:spPr>
      </p:pic>
      <p:pic>
        <p:nvPicPr>
          <p:cNvPr id="123" name="Picture 122" descr="A picture containing text, clipart&#10;&#10;Description automatically generated">
            <a:extLst>
              <a:ext uri="{FF2B5EF4-FFF2-40B4-BE49-F238E27FC236}">
                <a16:creationId xmlns:a16="http://schemas.microsoft.com/office/drawing/2014/main" id="{97DBB915-1006-889F-362B-68627C7E75C6}"/>
              </a:ext>
            </a:extLst>
          </p:cNvPr>
          <p:cNvPicPr>
            <a:picLocks noChangeAspect="1"/>
          </p:cNvPicPr>
          <p:nvPr/>
        </p:nvPicPr>
        <p:blipFill>
          <a:blip r:embed="rId7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649497" y="6115202"/>
            <a:ext cx="947941" cy="180035"/>
          </a:xfrm>
          <a:prstGeom prst="rect">
            <a:avLst/>
          </a:prstGeom>
        </p:spPr>
      </p:pic>
      <p:pic>
        <p:nvPicPr>
          <p:cNvPr id="125" name="Picture 124" descr="Logo, company name&#10;&#10;Description automatically generated">
            <a:extLst>
              <a:ext uri="{FF2B5EF4-FFF2-40B4-BE49-F238E27FC236}">
                <a16:creationId xmlns:a16="http://schemas.microsoft.com/office/drawing/2014/main" id="{A7FAE556-A456-14C6-089E-A337E60F3B4A}"/>
              </a:ext>
            </a:extLst>
          </p:cNvPr>
          <p:cNvPicPr>
            <a:picLocks noChangeAspect="1"/>
          </p:cNvPicPr>
          <p:nvPr/>
        </p:nvPicPr>
        <p:blipFill rotWithShape="1">
          <a:blip r:embed="rId76" cstate="print">
            <a:clrChange>
              <a:clrFrom>
                <a:srgbClr val="FFFFFF"/>
              </a:clrFrom>
              <a:clrTo>
                <a:srgbClr val="FFFFFF">
                  <a:alpha val="0"/>
                </a:srgbClr>
              </a:clrTo>
            </a:clrChange>
            <a:extLst>
              <a:ext uri="{28A0092B-C50C-407E-A947-70E740481C1C}">
                <a14:useLocalDpi xmlns:a14="http://schemas.microsoft.com/office/drawing/2010/main" val="0"/>
              </a:ext>
            </a:extLst>
          </a:blip>
          <a:srcRect t="29973" b="25563"/>
          <a:stretch/>
        </p:blipFill>
        <p:spPr>
          <a:xfrm>
            <a:off x="10692282" y="6064334"/>
            <a:ext cx="843867" cy="249689"/>
          </a:xfrm>
          <a:prstGeom prst="rect">
            <a:avLst/>
          </a:prstGeom>
        </p:spPr>
      </p:pic>
      <p:pic>
        <p:nvPicPr>
          <p:cNvPr id="127" name="Picture 126" descr="Logo&#10;&#10;Description automatically generated">
            <a:extLst>
              <a:ext uri="{FF2B5EF4-FFF2-40B4-BE49-F238E27FC236}">
                <a16:creationId xmlns:a16="http://schemas.microsoft.com/office/drawing/2014/main" id="{862E46A5-1F22-4F49-53CE-C3C06E1FCB3F}"/>
              </a:ext>
            </a:extLst>
          </p:cNvPr>
          <p:cNvPicPr>
            <a:picLocks noChangeAspect="1"/>
          </p:cNvPicPr>
          <p:nvPr/>
        </p:nvPicPr>
        <p:blipFill rotWithShape="1">
          <a:blip r:embed="rId77" cstate="print">
            <a:clrChange>
              <a:clrFrom>
                <a:srgbClr val="FFFFFF"/>
              </a:clrFrom>
              <a:clrTo>
                <a:srgbClr val="FFFFFF">
                  <a:alpha val="0"/>
                </a:srgbClr>
              </a:clrTo>
            </a:clrChange>
            <a:extLst>
              <a:ext uri="{28A0092B-C50C-407E-A947-70E740481C1C}">
                <a14:useLocalDpi xmlns:a14="http://schemas.microsoft.com/office/drawing/2010/main" val="0"/>
              </a:ext>
            </a:extLst>
          </a:blip>
          <a:srcRect t="29325" b="30131"/>
          <a:stretch/>
        </p:blipFill>
        <p:spPr>
          <a:xfrm>
            <a:off x="11259747" y="5675913"/>
            <a:ext cx="797952" cy="201633"/>
          </a:xfrm>
          <a:prstGeom prst="rect">
            <a:avLst/>
          </a:prstGeom>
        </p:spPr>
      </p:pic>
      <p:pic>
        <p:nvPicPr>
          <p:cNvPr id="129" name="Picture 128" descr="Logo, company name&#10;&#10;Description automatically generated">
            <a:extLst>
              <a:ext uri="{FF2B5EF4-FFF2-40B4-BE49-F238E27FC236}">
                <a16:creationId xmlns:a16="http://schemas.microsoft.com/office/drawing/2014/main" id="{59D4D49A-B62B-C2F4-F444-534707BEE44E}"/>
              </a:ext>
            </a:extLst>
          </p:cNvPr>
          <p:cNvPicPr>
            <a:picLocks noChangeAspect="1"/>
          </p:cNvPicPr>
          <p:nvPr/>
        </p:nvPicPr>
        <p:blipFill>
          <a:blip r:embed="rId78"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588034" y="5966513"/>
            <a:ext cx="484685" cy="347510"/>
          </a:xfrm>
          <a:prstGeom prst="rect">
            <a:avLst/>
          </a:prstGeom>
        </p:spPr>
      </p:pic>
      <p:pic>
        <p:nvPicPr>
          <p:cNvPr id="131" name="Picture 130" descr="Logo, company name&#10;&#10;Description automatically generated">
            <a:extLst>
              <a:ext uri="{FF2B5EF4-FFF2-40B4-BE49-F238E27FC236}">
                <a16:creationId xmlns:a16="http://schemas.microsoft.com/office/drawing/2014/main" id="{AAC7FE56-C342-859A-7584-95AF1D6ACD74}"/>
              </a:ext>
            </a:extLst>
          </p:cNvPr>
          <p:cNvPicPr>
            <a:picLocks noChangeAspect="1"/>
          </p:cNvPicPr>
          <p:nvPr/>
        </p:nvPicPr>
        <p:blipFill rotWithShape="1">
          <a:blip r:embed="rId79" cstate="print">
            <a:clrChange>
              <a:clrFrom>
                <a:srgbClr val="FFFFFF"/>
              </a:clrFrom>
              <a:clrTo>
                <a:srgbClr val="FFFFFF">
                  <a:alpha val="0"/>
                </a:srgbClr>
              </a:clrTo>
            </a:clrChange>
            <a:extLst>
              <a:ext uri="{28A0092B-C50C-407E-A947-70E740481C1C}">
                <a14:useLocalDpi xmlns:a14="http://schemas.microsoft.com/office/drawing/2010/main" val="0"/>
              </a:ext>
            </a:extLst>
          </a:blip>
          <a:srcRect t="15280" b="16332"/>
          <a:stretch/>
        </p:blipFill>
        <p:spPr>
          <a:xfrm>
            <a:off x="4208154" y="6436606"/>
            <a:ext cx="740790" cy="283702"/>
          </a:xfrm>
          <a:prstGeom prst="rect">
            <a:avLst/>
          </a:prstGeom>
        </p:spPr>
      </p:pic>
      <p:pic>
        <p:nvPicPr>
          <p:cNvPr id="133" name="Picture 132" descr="Logo, company name&#10;&#10;Description automatically generated">
            <a:extLst>
              <a:ext uri="{FF2B5EF4-FFF2-40B4-BE49-F238E27FC236}">
                <a16:creationId xmlns:a16="http://schemas.microsoft.com/office/drawing/2014/main" id="{95E9FD49-79D7-78CA-86C1-FCCD6B13857B}"/>
              </a:ext>
            </a:extLst>
          </p:cNvPr>
          <p:cNvPicPr>
            <a:picLocks noChangeAspect="1"/>
          </p:cNvPicPr>
          <p:nvPr/>
        </p:nvPicPr>
        <p:blipFill>
          <a:blip r:embed="rId80"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551399" y="6405086"/>
            <a:ext cx="984726" cy="258547"/>
          </a:xfrm>
          <a:prstGeom prst="rect">
            <a:avLst/>
          </a:prstGeom>
        </p:spPr>
      </p:pic>
      <p:pic>
        <p:nvPicPr>
          <p:cNvPr id="135" name="Picture 134" descr="Logo&#10;&#10;Description automatically generated">
            <a:extLst>
              <a:ext uri="{FF2B5EF4-FFF2-40B4-BE49-F238E27FC236}">
                <a16:creationId xmlns:a16="http://schemas.microsoft.com/office/drawing/2014/main" id="{C37E00BE-4B86-E8B2-FF69-C2C48CAA7A9E}"/>
              </a:ext>
            </a:extLst>
          </p:cNvPr>
          <p:cNvPicPr>
            <a:picLocks noChangeAspect="1"/>
          </p:cNvPicPr>
          <p:nvPr/>
        </p:nvPicPr>
        <p:blipFill>
          <a:blip r:embed="rId8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766913" y="6397992"/>
            <a:ext cx="1237208" cy="236809"/>
          </a:xfrm>
          <a:prstGeom prst="rect">
            <a:avLst/>
          </a:prstGeom>
        </p:spPr>
      </p:pic>
      <p:pic>
        <p:nvPicPr>
          <p:cNvPr id="137" name="Picture 136" descr="A red and white sign&#10;&#10;Description automatically generated with low confidence">
            <a:extLst>
              <a:ext uri="{FF2B5EF4-FFF2-40B4-BE49-F238E27FC236}">
                <a16:creationId xmlns:a16="http://schemas.microsoft.com/office/drawing/2014/main" id="{C7F16A7C-71CF-9BBF-0521-2A6656F07220}"/>
              </a:ext>
            </a:extLst>
          </p:cNvPr>
          <p:cNvPicPr>
            <a:picLocks noChangeAspect="1"/>
          </p:cNvPicPr>
          <p:nvPr/>
        </p:nvPicPr>
        <p:blipFill>
          <a:blip r:embed="rId8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103232" y="6371855"/>
            <a:ext cx="885991" cy="236809"/>
          </a:xfrm>
          <a:prstGeom prst="rect">
            <a:avLst/>
          </a:prstGeom>
        </p:spPr>
      </p:pic>
      <p:sp>
        <p:nvSpPr>
          <p:cNvPr id="31" name="TextBox 30">
            <a:extLst>
              <a:ext uri="{FF2B5EF4-FFF2-40B4-BE49-F238E27FC236}">
                <a16:creationId xmlns:a16="http://schemas.microsoft.com/office/drawing/2014/main" id="{1CE6173A-0071-C348-A973-4B4EDCE5B142}"/>
              </a:ext>
            </a:extLst>
          </p:cNvPr>
          <p:cNvSpPr txBox="1"/>
          <p:nvPr/>
        </p:nvSpPr>
        <p:spPr>
          <a:xfrm>
            <a:off x="11347539" y="-714638"/>
            <a:ext cx="6231116" cy="286232"/>
          </a:xfrm>
          <a:prstGeom prst="rect">
            <a:avLst/>
          </a:prstGeom>
          <a:noFill/>
        </p:spPr>
        <p:txBody>
          <a:bodyPr wrap="square">
            <a:spAutoFit/>
          </a:bodyPr>
          <a:lstStyle/>
          <a:p>
            <a:pPr marL="0" marR="0" lvl="0" indent="0" algn="l" defTabSz="622300" rtl="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a:ln>
                  <a:noFill/>
                </a:ln>
                <a:solidFill>
                  <a:srgbClr val="FFFFFF"/>
                </a:solidFill>
                <a:effectLst/>
                <a:uLnTx/>
                <a:uFillTx/>
                <a:latin typeface="Ubuntu"/>
                <a:ea typeface="+mn-ea"/>
                <a:cs typeface="+mn-cs"/>
              </a:rPr>
              <a:t>Quality Engineering &amp; Assurance</a:t>
            </a:r>
          </a:p>
        </p:txBody>
      </p:sp>
      <p:pic>
        <p:nvPicPr>
          <p:cNvPr id="136" name="Picture 137" descr="Graphical user interface, application&#10;&#10;Description automatically generated">
            <a:extLst>
              <a:ext uri="{FF2B5EF4-FFF2-40B4-BE49-F238E27FC236}">
                <a16:creationId xmlns:a16="http://schemas.microsoft.com/office/drawing/2014/main" id="{6F39E5CC-C8DA-CA83-AB16-AAFDC2DF665F}"/>
              </a:ext>
            </a:extLst>
          </p:cNvPr>
          <p:cNvPicPr>
            <a:picLocks noChangeAspect="1"/>
          </p:cNvPicPr>
          <p:nvPr/>
        </p:nvPicPr>
        <p:blipFill>
          <a:blip r:embed="rId83"/>
          <a:stretch>
            <a:fillRect/>
          </a:stretch>
        </p:blipFill>
        <p:spPr>
          <a:xfrm>
            <a:off x="9237980" y="3344545"/>
            <a:ext cx="919480" cy="656590"/>
          </a:xfrm>
          <a:prstGeom prst="rect">
            <a:avLst/>
          </a:prstGeom>
        </p:spPr>
      </p:pic>
      <p:pic>
        <p:nvPicPr>
          <p:cNvPr id="2" name="Picture 2">
            <a:extLst>
              <a:ext uri="{FF2B5EF4-FFF2-40B4-BE49-F238E27FC236}">
                <a16:creationId xmlns:a16="http://schemas.microsoft.com/office/drawing/2014/main" id="{36BC1D9F-E6D0-14D9-C3CE-40F9C8AAF396}"/>
              </a:ext>
            </a:extLst>
          </p:cNvPr>
          <p:cNvPicPr>
            <a:picLocks noChangeAspect="1" noChangeArrowheads="1"/>
          </p:cNvPicPr>
          <p:nvPr/>
        </p:nvPicPr>
        <p:blipFill rotWithShape="1">
          <a:blip r:embed="rId84">
            <a:extLst>
              <a:ext uri="{28A0092B-C50C-407E-A947-70E740481C1C}">
                <a14:useLocalDpi xmlns:a14="http://schemas.microsoft.com/office/drawing/2010/main" val="0"/>
              </a:ext>
            </a:extLst>
          </a:blip>
          <a:srcRect l="4889" t="3121" r="3940" b="3405"/>
          <a:stretch/>
        </p:blipFill>
        <p:spPr bwMode="auto">
          <a:xfrm>
            <a:off x="3699200" y="6185182"/>
            <a:ext cx="423682" cy="425619"/>
          </a:xfrm>
          <a:prstGeom prst="roundRect">
            <a:avLst>
              <a:gd name="adj" fmla="val 4929"/>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566265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Placeholder 13">
            <a:extLst>
              <a:ext uri="{FF2B5EF4-FFF2-40B4-BE49-F238E27FC236}">
                <a16:creationId xmlns:a16="http://schemas.microsoft.com/office/drawing/2014/main" id="{E1D47607-D621-4ECE-7E3E-CA986270B22E}"/>
              </a:ext>
              <a:ext uri="{C183D7F6-B498-43B3-948B-1728B52AA6E4}">
                <adec:decorative xmlns:adec="http://schemas.microsoft.com/office/drawing/2017/decorative" val="1"/>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a:stretch>
            <a:fillRect/>
          </a:stretch>
        </p:blipFill>
        <p:spPr>
          <a:prstGeom prst="rect">
            <a:avLst/>
          </a:prstGeom>
        </p:spPr>
      </p:pic>
      <p:sp>
        <p:nvSpPr>
          <p:cNvPr id="9" name="Rectangle 8">
            <a:extLst>
              <a:ext uri="{FF2B5EF4-FFF2-40B4-BE49-F238E27FC236}">
                <a16:creationId xmlns:a16="http://schemas.microsoft.com/office/drawing/2014/main" id="{CF1962CF-EF97-412C-B792-066A1C9D2733}"/>
              </a:ext>
              <a:ext uri="{C183D7F6-B498-43B3-948B-1728B52AA6E4}">
                <adec:decorative xmlns:adec="http://schemas.microsoft.com/office/drawing/2017/decorative" val="1"/>
              </a:ext>
            </a:extLst>
          </p:cNvPr>
          <p:cNvSpPr/>
          <p:nvPr/>
        </p:nvSpPr>
        <p:spPr bwMode="white">
          <a:xfrm>
            <a:off x="1624995" y="0"/>
            <a:ext cx="4563421" cy="6859720"/>
          </a:xfrm>
          <a:prstGeom prst="rect">
            <a:avLst/>
          </a:prstGeom>
          <a:solidFill>
            <a:srgbClr val="272936">
              <a:alpha val="7813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849" b="0" i="0" u="none" strike="noStrike" kern="1200" cap="none" spc="0" normalizeH="0" baseline="0" noProof="0">
              <a:ln>
                <a:noFill/>
              </a:ln>
              <a:solidFill>
                <a:prstClr val="black"/>
              </a:solidFill>
              <a:effectLst/>
              <a:uLnTx/>
              <a:uFillTx/>
              <a:latin typeface="Ubuntu Medium"/>
              <a:ea typeface="+mn-ea"/>
              <a:cs typeface="+mn-cs"/>
            </a:endParaRPr>
          </a:p>
        </p:txBody>
      </p:sp>
      <p:sp>
        <p:nvSpPr>
          <p:cNvPr id="11" name="object 5">
            <a:extLst>
              <a:ext uri="{FF2B5EF4-FFF2-40B4-BE49-F238E27FC236}">
                <a16:creationId xmlns:a16="http://schemas.microsoft.com/office/drawing/2014/main" id="{14918BB1-58F4-42AC-859A-E60DF368D314}"/>
              </a:ext>
            </a:extLst>
          </p:cNvPr>
          <p:cNvSpPr txBox="1">
            <a:spLocks noGrp="1"/>
          </p:cNvSpPr>
          <p:nvPr>
            <p:ph type="title" idx="4294967295"/>
          </p:nvPr>
        </p:nvSpPr>
        <p:spPr>
          <a:xfrm>
            <a:off x="2008055" y="1844824"/>
            <a:ext cx="3797300" cy="2306976"/>
          </a:xfrm>
          <a:prstGeom prst="rect">
            <a:avLst/>
          </a:prstGeom>
          <a:noFill/>
          <a:ln>
            <a:noFill/>
            <a:prstDash/>
          </a:ln>
          <a:effectLst/>
        </p:spPr>
        <p:txBody>
          <a:bodyPr rot="0" spcFirstLastPara="0" vertOverflow="overflow" horzOverflow="overflow" vert="horz" wrap="square" lIns="0" tIns="90105" rIns="0" bIns="0" numCol="1" spcCol="0" rtlCol="0" fromWordArt="0" anchor="b" anchorCtr="0" forceAA="0" compatLnSpc="1">
            <a:prstTxWarp prst="textNoShape">
              <a:avLst/>
            </a:prstTxWarp>
            <a:spAutoFit/>
          </a:bodyPr>
          <a:lstStyle>
            <a:lvl1pPr marL="0" marR="0" indent="0" algn="l" defTabSz="1507846" rtl="0" eaLnBrk="1" fontAlgn="auto" latinLnBrk="0" hangingPunct="1">
              <a:lnSpc>
                <a:spcPct val="90000"/>
              </a:lnSpc>
              <a:spcBef>
                <a:spcPct val="0"/>
              </a:spcBef>
              <a:spcAft>
                <a:spcPts val="0"/>
              </a:spcAft>
              <a:buClrTx/>
              <a:buSzTx/>
              <a:buFontTx/>
              <a:buNone/>
              <a:tabLst/>
              <a:defRPr kumimoji="0" lang="en-US" sz="2950" b="0" i="0" u="none" strike="noStrike" kern="1200" cap="all" spc="0" normalizeH="0" baseline="0" noProof="0">
                <a:ln>
                  <a:noFill/>
                </a:ln>
                <a:solidFill>
                  <a:schemeClr val="bg1"/>
                </a:solidFill>
                <a:effectLst/>
                <a:uLnTx/>
                <a:uFillTx/>
                <a:latin typeface="Ubuntu Light"/>
                <a:ea typeface="+mj-ea"/>
                <a:cs typeface="Ubuntu Light"/>
              </a:defRPr>
            </a:lvl1pPr>
          </a:lstStyle>
          <a:p>
            <a:pPr marL="7701" marR="3081" lvl="0" indent="0" algn="l" defTabSz="1507846" rtl="0" eaLnBrk="1" fontAlgn="auto" latinLnBrk="0" hangingPunct="1">
              <a:lnSpc>
                <a:spcPct val="100000"/>
              </a:lnSpc>
              <a:spcBef>
                <a:spcPts val="0"/>
              </a:spcBef>
              <a:spcAft>
                <a:spcPts val="0"/>
              </a:spcAft>
              <a:buClrTx/>
              <a:buSzTx/>
              <a:buFontTx/>
              <a:buNone/>
              <a:tabLst/>
              <a:defRPr/>
            </a:pPr>
            <a:r>
              <a:rPr lang="en-IN" sz="4800">
                <a:latin typeface="Ubuntu Medium" panose="020B0604030602030204" pitchFamily="34" charset="0"/>
              </a:rPr>
              <a:t>L&amp;A SUCCESS STORIES</a:t>
            </a:r>
            <a:endParaRPr kumimoji="0" lang="en-US" sz="5400" b="0" i="0" u="none" strike="noStrike" kern="1200" cap="all" spc="0" normalizeH="0" baseline="0" noProof="0">
              <a:ln>
                <a:noFill/>
              </a:ln>
              <a:solidFill>
                <a:schemeClr val="accent2"/>
              </a:solidFill>
              <a:effectLst/>
              <a:uLnTx/>
              <a:uFillTx/>
              <a:latin typeface="Ubuntu Medium" panose="020B0604030602030204" pitchFamily="34" charset="0"/>
            </a:endParaRPr>
          </a:p>
        </p:txBody>
      </p:sp>
    </p:spTree>
    <p:extLst>
      <p:ext uri="{BB962C8B-B14F-4D97-AF65-F5344CB8AC3E}">
        <p14:creationId xmlns:p14="http://schemas.microsoft.com/office/powerpoint/2010/main" val="70218979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C724CF92-DB77-A752-56B9-BDEFCEE069A8}"/>
              </a:ext>
            </a:extLst>
          </p:cNvPr>
          <p:cNvSpPr>
            <a:spLocks noGrp="1"/>
          </p:cNvSpPr>
          <p:nvPr>
            <p:ph type="title"/>
          </p:nvPr>
        </p:nvSpPr>
        <p:spPr>
          <a:xfrm>
            <a:off x="342421" y="235957"/>
            <a:ext cx="7765993" cy="716711"/>
          </a:xfrm>
        </p:spPr>
        <p:txBody>
          <a:bodyPr/>
          <a:lstStyle/>
          <a:p>
            <a:r>
              <a:rPr lang="en-US"/>
              <a:t>KEY L&amp;A Success CREDENTIALS with global clients</a:t>
            </a:r>
          </a:p>
        </p:txBody>
      </p:sp>
      <p:sp>
        <p:nvSpPr>
          <p:cNvPr id="13" name="TextBox 12">
            <a:extLst>
              <a:ext uri="{FF2B5EF4-FFF2-40B4-BE49-F238E27FC236}">
                <a16:creationId xmlns:a16="http://schemas.microsoft.com/office/drawing/2014/main" id="{C6E98388-040B-B65D-9203-AB09B3B667A2}"/>
              </a:ext>
            </a:extLst>
          </p:cNvPr>
          <p:cNvSpPr txBox="1"/>
          <p:nvPr/>
        </p:nvSpPr>
        <p:spPr>
          <a:xfrm>
            <a:off x="5863109" y="2351131"/>
            <a:ext cx="2711866" cy="738664"/>
          </a:xfrm>
          <a:prstGeom prst="rect">
            <a:avLst/>
          </a:prstGeom>
          <a:noFill/>
        </p:spPr>
        <p:txBody>
          <a:bodyPr wrap="square" lIns="91440" tIns="45720" rIns="91440" bIns="45720" anchor="t">
            <a:spAutoFit/>
          </a:bodyPr>
          <a:lstStyle>
            <a:defPPr>
              <a:defRPr lang="en-US"/>
            </a:defPPr>
            <a:lvl1pPr marR="0" lvl="0" indent="0" algn="ctr" fontAlgn="base">
              <a:lnSpc>
                <a:spcPct val="100000"/>
              </a:lnSpc>
              <a:spcBef>
                <a:spcPts val="0"/>
              </a:spcBef>
              <a:spcAft>
                <a:spcPts val="0"/>
              </a:spcAft>
              <a:buClrTx/>
              <a:buSzTx/>
              <a:buFontTx/>
              <a:buNone/>
              <a:tabLst/>
              <a:defRPr kumimoji="0" sz="1600" b="1" i="0" u="none" strike="noStrike" cap="none" spc="0" normalizeH="0" baseline="0">
                <a:ln>
                  <a:noFill/>
                </a:ln>
                <a:solidFill>
                  <a:prstClr val="black"/>
                </a:solidFill>
                <a:effectLst/>
                <a:uLnTx/>
                <a:uFillTx/>
                <a:latin typeface="Ubuntu" panose="020B0504030602030204" pitchFamily="34" charset="0"/>
              </a:defRPr>
            </a:lvl1p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a:ln>
                  <a:noFill/>
                </a:ln>
                <a:solidFill>
                  <a:prstClr val="black"/>
                </a:solidFill>
                <a:effectLst/>
                <a:uLnTx/>
                <a:uFillTx/>
                <a:latin typeface="Ubuntu"/>
                <a:ea typeface="+mn-ea"/>
                <a:cs typeface="+mn-cs"/>
              </a:rPr>
              <a:t>BUSINESS PROCESS OPTIMISATION FOR OPERATIONAL EXCELLENCE</a:t>
            </a:r>
            <a:endParaRPr kumimoji="0" lang="en-US" sz="1400" b="1" i="0" u="none" strike="noStrike" kern="1200" cap="none" spc="0" normalizeH="0" baseline="0" noProof="0">
              <a:ln>
                <a:noFill/>
              </a:ln>
              <a:solidFill>
                <a:prstClr val="black"/>
              </a:solidFill>
              <a:effectLst/>
              <a:uLnTx/>
              <a:uFillTx/>
              <a:latin typeface="Ubuntu" panose="020B0504030602030204" pitchFamily="34" charset="0"/>
              <a:ea typeface="+mn-ea"/>
              <a:cs typeface="+mn-cs"/>
            </a:endParaRPr>
          </a:p>
        </p:txBody>
      </p:sp>
      <p:sp>
        <p:nvSpPr>
          <p:cNvPr id="14" name="TextBox 13">
            <a:extLst>
              <a:ext uri="{FF2B5EF4-FFF2-40B4-BE49-F238E27FC236}">
                <a16:creationId xmlns:a16="http://schemas.microsoft.com/office/drawing/2014/main" id="{554B133D-FAFD-1CB1-385C-5995A525832F}"/>
              </a:ext>
            </a:extLst>
          </p:cNvPr>
          <p:cNvSpPr txBox="1"/>
          <p:nvPr/>
        </p:nvSpPr>
        <p:spPr>
          <a:xfrm>
            <a:off x="3011696" y="2375275"/>
            <a:ext cx="2617860" cy="523220"/>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a:ln>
                  <a:noFill/>
                </a:ln>
                <a:solidFill>
                  <a:prstClr val="black"/>
                </a:solidFill>
                <a:effectLst/>
                <a:uLnTx/>
                <a:uFillTx/>
                <a:latin typeface="Ubuntu" panose="020B0504030602030204" pitchFamily="34" charset="0"/>
                <a:ea typeface="+mn-ea"/>
                <a:cs typeface="+mn-cs"/>
              </a:rPr>
              <a:t>LIFE AND GROUP CLAIMS TRANSFORMATION</a:t>
            </a:r>
          </a:p>
        </p:txBody>
      </p:sp>
      <p:sp>
        <p:nvSpPr>
          <p:cNvPr id="15" name="TextBox 14">
            <a:extLst>
              <a:ext uri="{FF2B5EF4-FFF2-40B4-BE49-F238E27FC236}">
                <a16:creationId xmlns:a16="http://schemas.microsoft.com/office/drawing/2014/main" id="{48E90851-07ED-318B-93F7-32B2FF65893F}"/>
              </a:ext>
            </a:extLst>
          </p:cNvPr>
          <p:cNvSpPr txBox="1"/>
          <p:nvPr/>
        </p:nvSpPr>
        <p:spPr>
          <a:xfrm>
            <a:off x="299336" y="2345505"/>
            <a:ext cx="2609034" cy="738664"/>
          </a:xfrm>
          <a:prstGeom prst="rect">
            <a:avLst/>
          </a:prstGeom>
          <a:noFill/>
        </p:spPr>
        <p:txBody>
          <a:bodyPr wrap="square" lIns="91440" tIns="45720" rIns="91440" bIns="45720" anchor="t">
            <a:spAutoFit/>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Ubuntu"/>
                <a:ea typeface="+mn-ea"/>
                <a:cs typeface="+mn-cs"/>
              </a:rPr>
              <a:t>NEW PRODUCT ROLLOUT ACROSS LAH PORTFOLIO  </a:t>
            </a:r>
            <a:endParaRPr kumimoji="0" lang="en-US" sz="1400" b="1" i="0" u="none" strike="noStrike" kern="1200" cap="none" spc="0" normalizeH="0" baseline="0" noProof="0">
              <a:ln>
                <a:noFill/>
              </a:ln>
              <a:solidFill>
                <a:prstClr val="black"/>
              </a:solidFill>
              <a:effectLst/>
              <a:uLnTx/>
              <a:uFillTx/>
              <a:latin typeface="Ubuntu" panose="020B0504030602030204" pitchFamily="34" charset="0"/>
              <a:ea typeface="+mn-ea"/>
              <a:cs typeface="+mn-cs"/>
            </a:endParaRPr>
          </a:p>
        </p:txBody>
      </p:sp>
      <p:sp>
        <p:nvSpPr>
          <p:cNvPr id="16" name="TextBox 15">
            <a:extLst>
              <a:ext uri="{FF2B5EF4-FFF2-40B4-BE49-F238E27FC236}">
                <a16:creationId xmlns:a16="http://schemas.microsoft.com/office/drawing/2014/main" id="{4E09AFCA-9AAB-04D6-B5F4-82EFB9D8B67E}"/>
              </a:ext>
            </a:extLst>
          </p:cNvPr>
          <p:cNvSpPr txBox="1"/>
          <p:nvPr/>
        </p:nvSpPr>
        <p:spPr>
          <a:xfrm>
            <a:off x="555055" y="3358321"/>
            <a:ext cx="2073209" cy="1815882"/>
          </a:xfrm>
          <a:prstGeom prst="rect">
            <a:avLst/>
          </a:prstGeom>
          <a:noFill/>
        </p:spPr>
        <p:txBody>
          <a:bodyPr wrap="square" lIns="91440" tIns="45720" rIns="91440" bIns="45720" anchor="t">
            <a:spAutoFit/>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a:ln>
                  <a:noFill/>
                </a:ln>
                <a:solidFill>
                  <a:prstClr val="black"/>
                </a:solidFill>
                <a:effectLst/>
                <a:uLnTx/>
                <a:uFillTx/>
                <a:latin typeface="Ubuntu" panose="020B0504030602030204" pitchFamily="34" charset="0"/>
                <a:ea typeface="+mn-ea"/>
                <a:cs typeface="+mn-cs"/>
              </a:rPr>
              <a:t>Low-Code CoE within 2 months </a:t>
            </a:r>
          </a:p>
          <a:p>
            <a:pPr marL="0" marR="0" lvl="0" indent="0" algn="ctr" defTabSz="914400" rtl="0" eaLnBrk="1" fontAlgn="base"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a:ln>
                <a:noFill/>
              </a:ln>
              <a:solidFill>
                <a:prstClr val="black"/>
              </a:solidFill>
              <a:effectLst/>
              <a:uLnTx/>
              <a:uFillTx/>
              <a:latin typeface="Ubuntu" panose="020B0504030602030204" pitchFamily="34" charset="0"/>
              <a:ea typeface="+mn-ea"/>
              <a:cs typeface="+mn-cs"/>
            </a:endParaRP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err="1">
                <a:ln>
                  <a:noFill/>
                </a:ln>
                <a:solidFill>
                  <a:prstClr val="black"/>
                </a:solidFill>
                <a:effectLst/>
                <a:uLnTx/>
                <a:uFillTx/>
                <a:latin typeface="Ubuntu" panose="020B0504030602030204" pitchFamily="34" charset="0"/>
                <a:ea typeface="+mn-ea"/>
                <a:cs typeface="+mn-cs"/>
              </a:rPr>
              <a:t>GTM@Speed</a:t>
            </a:r>
            <a:r>
              <a:rPr kumimoji="0" lang="en-IN" sz="1400" b="0" i="0" u="none" strike="noStrike" kern="1200" cap="none" spc="0" normalizeH="0" baseline="0" noProof="0">
                <a:ln>
                  <a:noFill/>
                </a:ln>
                <a:solidFill>
                  <a:prstClr val="black"/>
                </a:solidFill>
                <a:effectLst/>
                <a:uLnTx/>
                <a:uFillTx/>
                <a:latin typeface="Ubuntu" panose="020B0504030602030204" pitchFamily="34" charset="0"/>
                <a:ea typeface="+mn-ea"/>
                <a:cs typeface="+mn-cs"/>
              </a:rPr>
              <a:t> and agility</a:t>
            </a:r>
          </a:p>
          <a:p>
            <a:pPr marL="0" marR="0" lvl="0" indent="0" algn="ctr" defTabSz="914400" rtl="0" eaLnBrk="1" fontAlgn="base"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a:ln>
                <a:noFill/>
              </a:ln>
              <a:solidFill>
                <a:prstClr val="black"/>
              </a:solidFill>
              <a:effectLst/>
              <a:uLnTx/>
              <a:uFillTx/>
              <a:latin typeface="Ubuntu" panose="020B0504030602030204" pitchFamily="34" charset="0"/>
              <a:ea typeface="+mn-ea"/>
              <a:cs typeface="+mn-cs"/>
            </a:endParaRP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a:ln>
                  <a:noFill/>
                </a:ln>
                <a:solidFill>
                  <a:prstClr val="black"/>
                </a:solidFill>
                <a:effectLst/>
                <a:uLnTx/>
                <a:uFillTx/>
                <a:latin typeface="Ubuntu" panose="020B0504030602030204" pitchFamily="34" charset="0"/>
                <a:ea typeface="+mn-ea"/>
                <a:cs typeface="+mn-cs"/>
              </a:rPr>
              <a:t> First product rollout in 4 months (2022) </a:t>
            </a:r>
          </a:p>
        </p:txBody>
      </p:sp>
      <p:sp>
        <p:nvSpPr>
          <p:cNvPr id="17" name="TextBox 16">
            <a:extLst>
              <a:ext uri="{FF2B5EF4-FFF2-40B4-BE49-F238E27FC236}">
                <a16:creationId xmlns:a16="http://schemas.microsoft.com/office/drawing/2014/main" id="{4F4D4862-80FC-7D2B-00E6-7A905BED30F8}"/>
              </a:ext>
            </a:extLst>
          </p:cNvPr>
          <p:cNvSpPr txBox="1"/>
          <p:nvPr/>
        </p:nvSpPr>
        <p:spPr>
          <a:xfrm>
            <a:off x="3275105" y="3358321"/>
            <a:ext cx="2241775" cy="1815882"/>
          </a:xfrm>
          <a:prstGeom prst="rect">
            <a:avLst/>
          </a:prstGeom>
          <a:noFill/>
        </p:spPr>
        <p:txBody>
          <a:bodyPr wrap="square" lIns="91440" tIns="45720" rIns="91440" bIns="45720" anchor="t">
            <a:spAutoFit/>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a:ln>
                  <a:noFill/>
                </a:ln>
                <a:solidFill>
                  <a:prstClr val="black"/>
                </a:solidFill>
                <a:effectLst/>
                <a:uLnTx/>
                <a:uFillTx/>
                <a:latin typeface="Ubuntu"/>
                <a:ea typeface="+mn-ea"/>
                <a:cs typeface="+mn-cs"/>
              </a:rPr>
              <a:t>8 week engagement with  </a:t>
            </a:r>
            <a:r>
              <a:rPr kumimoji="0" lang="en-IN" sz="1400" b="1" i="0" u="none" strike="noStrike" kern="1200" cap="none" spc="0" normalizeH="0" baseline="0" noProof="0">
                <a:ln>
                  <a:noFill/>
                </a:ln>
                <a:solidFill>
                  <a:prstClr val="black"/>
                </a:solidFill>
                <a:effectLst/>
                <a:uLnTx/>
                <a:uFillTx/>
                <a:latin typeface="Ubuntu"/>
                <a:ea typeface="+mn-ea"/>
                <a:cs typeface="+mn-cs"/>
              </a:rPr>
              <a:t>Capgemini Invent</a:t>
            </a:r>
          </a:p>
          <a:p>
            <a:pPr marL="0" marR="0" lvl="0" indent="0" algn="ctr" defTabSz="914400" rtl="0" eaLnBrk="1" fontAlgn="base"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a:ln>
                <a:noFill/>
              </a:ln>
              <a:solidFill>
                <a:prstClr val="black"/>
              </a:solidFill>
              <a:effectLst/>
              <a:uLnTx/>
              <a:uFillTx/>
              <a:latin typeface="Ubuntu" panose="020B0504030602030204" pitchFamily="34" charset="0"/>
              <a:ea typeface="+mn-ea"/>
              <a:cs typeface="+mn-cs"/>
              <a:sym typeface="Arial"/>
            </a:endParaRP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a:ln>
                  <a:noFill/>
                </a:ln>
                <a:solidFill>
                  <a:prstClr val="black"/>
                </a:solidFill>
                <a:effectLst/>
                <a:uLnTx/>
                <a:uFillTx/>
                <a:latin typeface="Ubuntu" panose="020B0504030602030204" pitchFamily="34" charset="0"/>
                <a:ea typeface="+mn-ea"/>
                <a:cs typeface="+mn-cs"/>
                <a:sym typeface="Arial"/>
              </a:rPr>
              <a:t>Future state claimant centric service blueprint</a:t>
            </a:r>
            <a:endParaRPr kumimoji="0" lang="en" sz="1400" b="0" i="0" u="none" strike="noStrike" kern="1200" cap="none" spc="0" normalizeH="0" baseline="0" noProof="0">
              <a:ln>
                <a:noFill/>
              </a:ln>
              <a:solidFill>
                <a:prstClr val="black"/>
              </a:solidFill>
              <a:effectLst/>
              <a:uLnTx/>
              <a:uFillTx/>
              <a:latin typeface="Ubuntu" panose="020B0504030602030204" pitchFamily="34" charset="0"/>
              <a:ea typeface="+mn-ea"/>
              <a:cs typeface="+mn-cs"/>
              <a:sym typeface="Libre Baskerville"/>
            </a:endParaRPr>
          </a:p>
          <a:p>
            <a:pPr marL="0" marR="0" lvl="0" indent="0" algn="ctr" defTabSz="914400" rtl="0" eaLnBrk="1" fontAlgn="base" latinLnBrk="0" hangingPunct="1">
              <a:lnSpc>
                <a:spcPct val="100000"/>
              </a:lnSpc>
              <a:spcBef>
                <a:spcPts val="0"/>
              </a:spcBef>
              <a:spcAft>
                <a:spcPts val="0"/>
              </a:spcAft>
              <a:buClrTx/>
              <a:buSzTx/>
              <a:buFontTx/>
              <a:buNone/>
              <a:tabLst/>
              <a:defRPr/>
            </a:pPr>
            <a:endParaRPr kumimoji="0" lang="en" sz="1400" b="0" i="0" u="none" strike="noStrike" kern="1200" cap="none" spc="0" normalizeH="0" baseline="0" noProof="0">
              <a:ln>
                <a:noFill/>
              </a:ln>
              <a:solidFill>
                <a:prstClr val="black"/>
              </a:solidFill>
              <a:effectLst/>
              <a:uLnTx/>
              <a:uFillTx/>
              <a:latin typeface="Ubuntu" panose="020B0504030602030204" pitchFamily="34" charset="0"/>
              <a:ea typeface="+mn-ea"/>
              <a:cs typeface="+mn-cs"/>
              <a:sym typeface="Libre Baskerville"/>
            </a:endParaRP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a:ln>
                  <a:noFill/>
                </a:ln>
                <a:solidFill>
                  <a:prstClr val="black"/>
                </a:solidFill>
                <a:effectLst/>
                <a:uLnTx/>
                <a:uFillTx/>
                <a:latin typeface="Ubuntu" panose="020B0504030602030204" pitchFamily="34" charset="0"/>
                <a:ea typeface="+mn-ea"/>
                <a:cs typeface="+mn-cs"/>
                <a:sym typeface="Libre Baskerville"/>
              </a:rPr>
              <a:t>Prioritised &amp; actionable transformation roadmap</a:t>
            </a:r>
            <a:endParaRPr kumimoji="0" lang="en" sz="1400" b="0" i="0" u="none" strike="noStrike" kern="1200" cap="none" spc="0" normalizeH="0" baseline="0" noProof="0">
              <a:ln>
                <a:noFill/>
              </a:ln>
              <a:solidFill>
                <a:prstClr val="black"/>
              </a:solidFill>
              <a:effectLst/>
              <a:uLnTx/>
              <a:uFillTx/>
              <a:latin typeface="Ubuntu" panose="020B0504030602030204" pitchFamily="34" charset="0"/>
              <a:ea typeface="+mn-ea"/>
              <a:cs typeface="+mn-cs"/>
              <a:sym typeface="Libre Baskerville"/>
            </a:endParaRPr>
          </a:p>
        </p:txBody>
      </p:sp>
      <p:sp>
        <p:nvSpPr>
          <p:cNvPr id="18" name="TextBox 17">
            <a:extLst>
              <a:ext uri="{FF2B5EF4-FFF2-40B4-BE49-F238E27FC236}">
                <a16:creationId xmlns:a16="http://schemas.microsoft.com/office/drawing/2014/main" id="{7ABA70A4-6116-120A-67F8-2C6C95872C77}"/>
              </a:ext>
            </a:extLst>
          </p:cNvPr>
          <p:cNvSpPr txBox="1"/>
          <p:nvPr/>
        </p:nvSpPr>
        <p:spPr>
          <a:xfrm>
            <a:off x="5995155" y="3358321"/>
            <a:ext cx="2560618" cy="2031325"/>
          </a:xfrm>
          <a:prstGeom prst="rect">
            <a:avLst/>
          </a:prstGeom>
          <a:noFill/>
        </p:spPr>
        <p:txBody>
          <a:bodyPr wrap="square" lIns="91440" tIns="45720" rIns="91440" bIns="45720" anchor="t">
            <a:spAutoFit/>
          </a:bodyPr>
          <a:lstStyle>
            <a:defPPr>
              <a:defRPr lang="en-US"/>
            </a:defPPr>
            <a:lvl1pPr algn="ctr" fontAlgn="base">
              <a:defRPr sz="1400">
                <a:solidFill>
                  <a:prstClr val="black"/>
                </a:solidFill>
                <a:latin typeface="Ubuntu" panose="020B0504030602030204" pitchFamily="34" charset="0"/>
              </a:defRPr>
            </a:lvl1p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a:ln>
                  <a:noFill/>
                </a:ln>
                <a:solidFill>
                  <a:prstClr val="black"/>
                </a:solidFill>
                <a:effectLst/>
                <a:uLnTx/>
                <a:uFillTx/>
                <a:latin typeface="Ubuntu" panose="020B0504030602030204" pitchFamily="34" charset="0"/>
                <a:ea typeface="+mn-ea"/>
                <a:cs typeface="+mn-cs"/>
              </a:rPr>
              <a:t>Business Process flow driven implementation </a:t>
            </a:r>
          </a:p>
          <a:p>
            <a:pPr marL="0" marR="0" lvl="0" indent="0" algn="ctr" defTabSz="914400"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Ubuntu" panose="020B0504030602030204" pitchFamily="34" charset="0"/>
              <a:ea typeface="+mn-ea"/>
              <a:cs typeface="+mn-cs"/>
            </a:endParaRP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a:ln>
                  <a:noFill/>
                </a:ln>
                <a:solidFill>
                  <a:prstClr val="black"/>
                </a:solidFill>
                <a:effectLst/>
                <a:uLnTx/>
                <a:uFillTx/>
                <a:latin typeface="Ubuntu" panose="020B0504030602030204" pitchFamily="34" charset="0"/>
                <a:ea typeface="+mn-ea"/>
                <a:cs typeface="+mn-cs"/>
              </a:rPr>
              <a:t>Functional &amp; Technical Components re-usability </a:t>
            </a:r>
            <a:r>
              <a:rPr kumimoji="0" lang="en-IN" sz="1200" b="0" i="0" u="none" strike="noStrike" kern="1200" cap="none" spc="0" normalizeH="0" baseline="0" noProof="0">
                <a:ln>
                  <a:noFill/>
                </a:ln>
                <a:solidFill>
                  <a:prstClr val="black"/>
                </a:solidFill>
                <a:effectLst/>
                <a:uLnTx/>
                <a:uFillTx/>
                <a:latin typeface="Ubuntu" panose="020B0504030602030204" pitchFamily="34" charset="0"/>
                <a:ea typeface="+mn-ea"/>
                <a:cs typeface="+mn-cs"/>
              </a:rPr>
              <a:t>(~70%)</a:t>
            </a:r>
          </a:p>
          <a:p>
            <a:pPr marL="0" marR="0" lvl="0" indent="0" algn="ctr" defTabSz="914400"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Ubuntu" panose="020B0504030602030204" pitchFamily="34" charset="0"/>
              <a:ea typeface="+mn-ea"/>
              <a:cs typeface="+mn-cs"/>
            </a:endParaRP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a:ln>
                  <a:noFill/>
                </a:ln>
                <a:solidFill>
                  <a:prstClr val="black"/>
                </a:solidFill>
                <a:effectLst/>
                <a:uLnTx/>
                <a:uFillTx/>
                <a:latin typeface="Ubuntu" panose="020B0504030602030204" pitchFamily="34" charset="0"/>
                <a:ea typeface="+mn-ea"/>
                <a:cs typeface="+mn-cs"/>
              </a:rPr>
              <a:t>Unified user experience through single workbench</a:t>
            </a:r>
          </a:p>
        </p:txBody>
      </p:sp>
      <p:sp>
        <p:nvSpPr>
          <p:cNvPr id="19" name="TextBox 18">
            <a:extLst>
              <a:ext uri="{FF2B5EF4-FFF2-40B4-BE49-F238E27FC236}">
                <a16:creationId xmlns:a16="http://schemas.microsoft.com/office/drawing/2014/main" id="{B49BE412-7983-F1EA-9C24-4B66D40A1F92}"/>
              </a:ext>
            </a:extLst>
          </p:cNvPr>
          <p:cNvSpPr txBox="1"/>
          <p:nvPr/>
        </p:nvSpPr>
        <p:spPr>
          <a:xfrm>
            <a:off x="8718672" y="2386890"/>
            <a:ext cx="3068680" cy="523220"/>
          </a:xfrm>
          <a:prstGeom prst="rect">
            <a:avLst/>
          </a:prstGeom>
          <a:noFill/>
        </p:spPr>
        <p:txBody>
          <a:bodyPr wrap="square" lIns="91440" tIns="45720" rIns="91440" bIns="45720" anchor="t">
            <a:spAutoFit/>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a:ln>
                  <a:noFill/>
                </a:ln>
                <a:solidFill>
                  <a:prstClr val="black"/>
                </a:solidFill>
                <a:effectLst/>
                <a:uLnTx/>
                <a:uFillTx/>
                <a:latin typeface="Ubuntu" panose="020B0504030602030204" pitchFamily="34" charset="0"/>
                <a:ea typeface="+mn-ea"/>
                <a:cs typeface="+mn-cs"/>
              </a:rPr>
              <a:t>IMPLEMENTING A MODERN CORE PLATFORM</a:t>
            </a:r>
            <a:endParaRPr kumimoji="0" lang="en-US" sz="1400" b="1" i="0" u="none" strike="noStrike" kern="1200" cap="none" spc="0" normalizeH="0" baseline="0" noProof="0">
              <a:ln>
                <a:noFill/>
              </a:ln>
              <a:solidFill>
                <a:prstClr val="black"/>
              </a:solidFill>
              <a:effectLst/>
              <a:uLnTx/>
              <a:uFillTx/>
              <a:latin typeface="Ubuntu" panose="020B0504030602030204" pitchFamily="34" charset="0"/>
              <a:ea typeface="+mn-ea"/>
              <a:cs typeface="+mn-cs"/>
            </a:endParaRPr>
          </a:p>
        </p:txBody>
      </p:sp>
      <p:sp>
        <p:nvSpPr>
          <p:cNvPr id="20" name="TextBox 19">
            <a:extLst>
              <a:ext uri="{FF2B5EF4-FFF2-40B4-BE49-F238E27FC236}">
                <a16:creationId xmlns:a16="http://schemas.microsoft.com/office/drawing/2014/main" id="{BA48FF7D-73A4-A4B8-BCD7-D3FEF9D272E0}"/>
              </a:ext>
            </a:extLst>
          </p:cNvPr>
          <p:cNvSpPr txBox="1"/>
          <p:nvPr/>
        </p:nvSpPr>
        <p:spPr>
          <a:xfrm>
            <a:off x="8913713" y="3350924"/>
            <a:ext cx="2678597" cy="1815882"/>
          </a:xfrm>
          <a:prstGeom prst="rect">
            <a:avLst/>
          </a:prstGeom>
          <a:noFill/>
        </p:spPr>
        <p:txBody>
          <a:bodyPr wrap="square" lIns="91440" tIns="45720" rIns="91440" bIns="45720" anchor="t">
            <a:spAutoFit/>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a:ln>
                  <a:noFill/>
                </a:ln>
                <a:solidFill>
                  <a:prstClr val="black"/>
                </a:solidFill>
                <a:effectLst/>
                <a:uLnTx/>
                <a:uFillTx/>
                <a:latin typeface="Ubuntu" panose="020B0504030602030204" pitchFamily="34" charset="0"/>
                <a:ea typeface="+mn-ea"/>
                <a:cs typeface="+mn-cs"/>
              </a:rPr>
              <a:t>Fully integrated solution with digital engagement</a:t>
            </a:r>
          </a:p>
          <a:p>
            <a:pPr marL="0" marR="0" lvl="0" indent="0" algn="ctr" defTabSz="914400"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Ubuntu" panose="020B0504030602030204" pitchFamily="34" charset="0"/>
              <a:ea typeface="+mn-ea"/>
              <a:cs typeface="+mn-cs"/>
            </a:endParaRP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a:ln>
                  <a:noFill/>
                </a:ln>
                <a:solidFill>
                  <a:prstClr val="black"/>
                </a:solidFill>
                <a:effectLst/>
                <a:uLnTx/>
                <a:uFillTx/>
                <a:latin typeface="Ubuntu" panose="020B0504030602030204" pitchFamily="34" charset="0"/>
                <a:ea typeface="+mn-ea"/>
                <a:cs typeface="+mn-cs"/>
              </a:rPr>
              <a:t>Increased STP and reduced TAT</a:t>
            </a:r>
          </a:p>
          <a:p>
            <a:pPr marL="0" marR="0" lvl="0" indent="0" algn="ctr" defTabSz="914400"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Ubuntu" panose="020B0504030602030204" pitchFamily="34" charset="0"/>
              <a:ea typeface="+mn-ea"/>
              <a:cs typeface="+mn-cs"/>
            </a:endParaRP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a:ln>
                  <a:noFill/>
                </a:ln>
                <a:solidFill>
                  <a:prstClr val="black"/>
                </a:solidFill>
                <a:effectLst/>
                <a:uLnTx/>
                <a:uFillTx/>
                <a:latin typeface="Ubuntu"/>
                <a:ea typeface="+mn-ea"/>
                <a:cs typeface="+mn-cs"/>
              </a:rPr>
              <a:t>Rapid adaptation for new, innovative products</a:t>
            </a:r>
            <a:endParaRPr kumimoji="0" lang="en-US" sz="1400" b="0" i="0" u="none" strike="noStrike" kern="1200" cap="none" spc="0" normalizeH="0" baseline="0" noProof="0">
              <a:ln>
                <a:noFill/>
              </a:ln>
              <a:solidFill>
                <a:prstClr val="black"/>
              </a:solidFill>
              <a:effectLst/>
              <a:uLnTx/>
              <a:uFillTx/>
              <a:latin typeface="Ubuntu"/>
              <a:ea typeface="+mn-ea"/>
              <a:cs typeface="+mn-cs"/>
            </a:endParaRPr>
          </a:p>
        </p:txBody>
      </p:sp>
      <p:pic>
        <p:nvPicPr>
          <p:cNvPr id="21" name="Graphic 4" descr="Lost with solid fill">
            <a:extLst>
              <a:ext uri="{FF2B5EF4-FFF2-40B4-BE49-F238E27FC236}">
                <a16:creationId xmlns:a16="http://schemas.microsoft.com/office/drawing/2014/main" id="{8A11D0C9-256F-7151-B6F2-63E69664761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708936" y="1394057"/>
            <a:ext cx="914400" cy="914400"/>
          </a:xfrm>
          <a:prstGeom prst="rect">
            <a:avLst/>
          </a:prstGeom>
        </p:spPr>
      </p:pic>
      <p:grpSp>
        <p:nvGrpSpPr>
          <p:cNvPr id="23" name="Graphic 7" descr="Harvey Balls 50% outline">
            <a:extLst>
              <a:ext uri="{FF2B5EF4-FFF2-40B4-BE49-F238E27FC236}">
                <a16:creationId xmlns:a16="http://schemas.microsoft.com/office/drawing/2014/main" id="{F80D04AC-2526-6EF3-1AF4-C2CB7AB7C154}"/>
              </a:ext>
            </a:extLst>
          </p:cNvPr>
          <p:cNvGrpSpPr/>
          <p:nvPr/>
        </p:nvGrpSpPr>
        <p:grpSpPr>
          <a:xfrm>
            <a:off x="1265397" y="1489307"/>
            <a:ext cx="695067" cy="723900"/>
            <a:chOff x="1534178" y="1419629"/>
            <a:chExt cx="695067" cy="723900"/>
          </a:xfrm>
          <a:solidFill>
            <a:schemeClr val="bg1"/>
          </a:solidFill>
        </p:grpSpPr>
        <p:sp>
          <p:nvSpPr>
            <p:cNvPr id="24" name="Freeform: Shape 23">
              <a:extLst>
                <a:ext uri="{FF2B5EF4-FFF2-40B4-BE49-F238E27FC236}">
                  <a16:creationId xmlns:a16="http://schemas.microsoft.com/office/drawing/2014/main" id="{AF86789C-093D-946C-60F2-74705838574D}"/>
                </a:ext>
              </a:extLst>
            </p:cNvPr>
            <p:cNvSpPr/>
            <p:nvPr/>
          </p:nvSpPr>
          <p:spPr>
            <a:xfrm>
              <a:off x="1552494" y="1885106"/>
              <a:ext cx="24584" cy="24555"/>
            </a:xfrm>
            <a:custGeom>
              <a:avLst/>
              <a:gdLst>
                <a:gd name="connsiteX0" fmla="*/ 24584 w 24584"/>
                <a:gd name="connsiteY0" fmla="*/ 17212 h 24555"/>
                <a:gd name="connsiteX1" fmla="*/ 17993 w 24584"/>
                <a:gd name="connsiteY1" fmla="*/ 0 h 24555"/>
                <a:gd name="connsiteX2" fmla="*/ 0 w 24584"/>
                <a:gd name="connsiteY2" fmla="*/ 6267 h 24555"/>
                <a:gd name="connsiteX3" fmla="*/ 7010 w 24584"/>
                <a:gd name="connsiteY3" fmla="*/ 24555 h 24555"/>
              </a:gdLst>
              <a:ahLst/>
              <a:cxnLst>
                <a:cxn ang="0">
                  <a:pos x="connsiteX0" y="connsiteY0"/>
                </a:cxn>
                <a:cxn ang="0">
                  <a:pos x="connsiteX1" y="connsiteY1"/>
                </a:cxn>
                <a:cxn ang="0">
                  <a:pos x="connsiteX2" y="connsiteY2"/>
                </a:cxn>
                <a:cxn ang="0">
                  <a:pos x="connsiteX3" y="connsiteY3"/>
                </a:cxn>
              </a:cxnLst>
              <a:rect l="l" t="t" r="r" b="b"/>
              <a:pathLst>
                <a:path w="24584" h="24555">
                  <a:moveTo>
                    <a:pt x="24584" y="17212"/>
                  </a:moveTo>
                  <a:cubicBezTo>
                    <a:pt x="22222" y="11554"/>
                    <a:pt x="20024" y="5817"/>
                    <a:pt x="17993" y="0"/>
                  </a:cubicBezTo>
                  <a:lnTo>
                    <a:pt x="0" y="6267"/>
                  </a:lnTo>
                  <a:cubicBezTo>
                    <a:pt x="2165" y="12459"/>
                    <a:pt x="4502" y="18555"/>
                    <a:pt x="7010" y="24555"/>
                  </a:cubicBezTo>
                  <a:close/>
                </a:path>
              </a:pathLst>
            </a:custGeom>
            <a:solidFill>
              <a:schemeClr val="bg1"/>
            </a:solidFill>
            <a:ln w="9525" cap="flat">
              <a:solidFill>
                <a:srgbClr val="00BFB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25" name="Freeform: Shape 24">
              <a:extLst>
                <a:ext uri="{FF2B5EF4-FFF2-40B4-BE49-F238E27FC236}">
                  <a16:creationId xmlns:a16="http://schemas.microsoft.com/office/drawing/2014/main" id="{A2EE1B17-0B81-D8CC-EFAD-323ED457F0CE}"/>
                </a:ext>
              </a:extLst>
            </p:cNvPr>
            <p:cNvSpPr/>
            <p:nvPr/>
          </p:nvSpPr>
          <p:spPr>
            <a:xfrm>
              <a:off x="1572021" y="1927435"/>
              <a:ext cx="25936" cy="25869"/>
            </a:xfrm>
            <a:custGeom>
              <a:avLst/>
              <a:gdLst>
                <a:gd name="connsiteX0" fmla="*/ 25937 w 25936"/>
                <a:gd name="connsiteY0" fmla="*/ 16069 h 25869"/>
                <a:gd name="connsiteX1" fmla="*/ 16869 w 25936"/>
                <a:gd name="connsiteY1" fmla="*/ 0 h 25869"/>
                <a:gd name="connsiteX2" fmla="*/ 0 w 25936"/>
                <a:gd name="connsiteY2" fmla="*/ 8811 h 25869"/>
                <a:gd name="connsiteX3" fmla="*/ 9620 w 25936"/>
                <a:gd name="connsiteY3" fmla="*/ 25870 h 25869"/>
              </a:gdLst>
              <a:ahLst/>
              <a:cxnLst>
                <a:cxn ang="0">
                  <a:pos x="connsiteX0" y="connsiteY0"/>
                </a:cxn>
                <a:cxn ang="0">
                  <a:pos x="connsiteX1" y="connsiteY1"/>
                </a:cxn>
                <a:cxn ang="0">
                  <a:pos x="connsiteX2" y="connsiteY2"/>
                </a:cxn>
                <a:cxn ang="0">
                  <a:pos x="connsiteX3" y="connsiteY3"/>
                </a:cxn>
              </a:cxnLst>
              <a:rect l="l" t="t" r="r" b="b"/>
              <a:pathLst>
                <a:path w="25936" h="25869">
                  <a:moveTo>
                    <a:pt x="25937" y="16069"/>
                  </a:moveTo>
                  <a:cubicBezTo>
                    <a:pt x="22762" y="10804"/>
                    <a:pt x="19739" y="5448"/>
                    <a:pt x="16869" y="0"/>
                  </a:cubicBezTo>
                  <a:lnTo>
                    <a:pt x="0" y="8811"/>
                  </a:lnTo>
                  <a:cubicBezTo>
                    <a:pt x="3036" y="14602"/>
                    <a:pt x="6242" y="20288"/>
                    <a:pt x="9620" y="25870"/>
                  </a:cubicBezTo>
                  <a:close/>
                </a:path>
              </a:pathLst>
            </a:custGeom>
            <a:solidFill>
              <a:schemeClr val="bg1"/>
            </a:solidFill>
            <a:ln w="9525" cap="flat">
              <a:solidFill>
                <a:srgbClr val="00BFB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26" name="Freeform: Shape 25">
              <a:extLst>
                <a:ext uri="{FF2B5EF4-FFF2-40B4-BE49-F238E27FC236}">
                  <a16:creationId xmlns:a16="http://schemas.microsoft.com/office/drawing/2014/main" id="{AD14FAA8-35FD-A376-1D6B-E328546BA4E7}"/>
                </a:ext>
              </a:extLst>
            </p:cNvPr>
            <p:cNvSpPr/>
            <p:nvPr/>
          </p:nvSpPr>
          <p:spPr>
            <a:xfrm>
              <a:off x="1597909" y="1966544"/>
              <a:ext cx="26708" cy="26736"/>
            </a:xfrm>
            <a:custGeom>
              <a:avLst/>
              <a:gdLst>
                <a:gd name="connsiteX0" fmla="*/ 26708 w 26708"/>
                <a:gd name="connsiteY0" fmla="*/ 14592 h 26736"/>
                <a:gd name="connsiteX1" fmla="*/ 15383 w 26708"/>
                <a:gd name="connsiteY1" fmla="*/ 0 h 26736"/>
                <a:gd name="connsiteX2" fmla="*/ 0 w 26708"/>
                <a:gd name="connsiteY2" fmla="*/ 11249 h 26736"/>
                <a:gd name="connsiteX3" fmla="*/ 12011 w 26708"/>
                <a:gd name="connsiteY3" fmla="*/ 26737 h 26736"/>
              </a:gdLst>
              <a:ahLst/>
              <a:cxnLst>
                <a:cxn ang="0">
                  <a:pos x="connsiteX0" y="connsiteY0"/>
                </a:cxn>
                <a:cxn ang="0">
                  <a:pos x="connsiteX1" y="connsiteY1"/>
                </a:cxn>
                <a:cxn ang="0">
                  <a:pos x="connsiteX2" y="connsiteY2"/>
                </a:cxn>
                <a:cxn ang="0">
                  <a:pos x="connsiteX3" y="connsiteY3"/>
                </a:cxn>
              </a:cxnLst>
              <a:rect l="l" t="t" r="r" b="b"/>
              <a:pathLst>
                <a:path w="26708" h="26736">
                  <a:moveTo>
                    <a:pt x="26708" y="14592"/>
                  </a:moveTo>
                  <a:cubicBezTo>
                    <a:pt x="22796" y="9849"/>
                    <a:pt x="19021" y="4984"/>
                    <a:pt x="15383" y="0"/>
                  </a:cubicBezTo>
                  <a:lnTo>
                    <a:pt x="0" y="11249"/>
                  </a:lnTo>
                  <a:cubicBezTo>
                    <a:pt x="3860" y="16526"/>
                    <a:pt x="7865" y="21688"/>
                    <a:pt x="12011" y="26737"/>
                  </a:cubicBezTo>
                  <a:close/>
                </a:path>
              </a:pathLst>
            </a:custGeom>
            <a:solidFill>
              <a:schemeClr val="bg1"/>
            </a:solidFill>
            <a:ln w="9525" cap="flat">
              <a:solidFill>
                <a:srgbClr val="00BFB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27" name="Freeform: Shape 26">
              <a:extLst>
                <a:ext uri="{FF2B5EF4-FFF2-40B4-BE49-F238E27FC236}">
                  <a16:creationId xmlns:a16="http://schemas.microsoft.com/office/drawing/2014/main" id="{9BA7F5EA-8D75-D081-E083-67D24A66017E}"/>
                </a:ext>
              </a:extLst>
            </p:cNvPr>
            <p:cNvSpPr/>
            <p:nvPr/>
          </p:nvSpPr>
          <p:spPr>
            <a:xfrm>
              <a:off x="1534178" y="1794675"/>
              <a:ext cx="20354" cy="20326"/>
            </a:xfrm>
            <a:custGeom>
              <a:avLst/>
              <a:gdLst>
                <a:gd name="connsiteX0" fmla="*/ 1400 w 20354"/>
                <a:gd name="connsiteY0" fmla="*/ 20326 h 20326"/>
                <a:gd name="connsiteX1" fmla="*/ 20355 w 20354"/>
                <a:gd name="connsiteY1" fmla="*/ 18421 h 20326"/>
                <a:gd name="connsiteX2" fmla="*/ 19050 w 20354"/>
                <a:gd name="connsiteY2" fmla="*/ 0 h 20326"/>
                <a:gd name="connsiteX3" fmla="*/ 0 w 20354"/>
                <a:gd name="connsiteY3" fmla="*/ 781 h 20326"/>
                <a:gd name="connsiteX4" fmla="*/ 1400 w 20354"/>
                <a:gd name="connsiteY4" fmla="*/ 20326 h 203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54" h="20326">
                  <a:moveTo>
                    <a:pt x="1400" y="20326"/>
                  </a:moveTo>
                  <a:lnTo>
                    <a:pt x="20355" y="18421"/>
                  </a:lnTo>
                  <a:cubicBezTo>
                    <a:pt x="19720" y="12325"/>
                    <a:pt x="19285" y="6185"/>
                    <a:pt x="19050" y="0"/>
                  </a:cubicBezTo>
                  <a:lnTo>
                    <a:pt x="0" y="781"/>
                  </a:lnTo>
                  <a:cubicBezTo>
                    <a:pt x="295" y="7334"/>
                    <a:pt x="743" y="13859"/>
                    <a:pt x="1400" y="20326"/>
                  </a:cubicBezTo>
                  <a:close/>
                </a:path>
              </a:pathLst>
            </a:custGeom>
            <a:solidFill>
              <a:schemeClr val="bg1"/>
            </a:solidFill>
            <a:ln w="9525" cap="flat">
              <a:solidFill>
                <a:srgbClr val="00BFB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28" name="Freeform: Shape 27">
              <a:extLst>
                <a:ext uri="{FF2B5EF4-FFF2-40B4-BE49-F238E27FC236}">
                  <a16:creationId xmlns:a16="http://schemas.microsoft.com/office/drawing/2014/main" id="{9BDD5CC3-36AD-FB1F-CA54-D0EB5772B8BB}"/>
                </a:ext>
              </a:extLst>
            </p:cNvPr>
            <p:cNvSpPr/>
            <p:nvPr/>
          </p:nvSpPr>
          <p:spPr>
            <a:xfrm>
              <a:off x="1540112" y="1698311"/>
              <a:ext cx="22783" cy="22783"/>
            </a:xfrm>
            <a:custGeom>
              <a:avLst/>
              <a:gdLst>
                <a:gd name="connsiteX0" fmla="*/ 18698 w 22783"/>
                <a:gd name="connsiteY0" fmla="*/ 22784 h 22783"/>
                <a:gd name="connsiteX1" fmla="*/ 22784 w 22783"/>
                <a:gd name="connsiteY1" fmla="*/ 4763 h 22783"/>
                <a:gd name="connsiteX2" fmla="*/ 4324 w 22783"/>
                <a:gd name="connsiteY2" fmla="*/ 0 h 22783"/>
                <a:gd name="connsiteX3" fmla="*/ 0 w 22783"/>
                <a:gd name="connsiteY3" fmla="*/ 19107 h 22783"/>
              </a:gdLst>
              <a:ahLst/>
              <a:cxnLst>
                <a:cxn ang="0">
                  <a:pos x="connsiteX0" y="connsiteY0"/>
                </a:cxn>
                <a:cxn ang="0">
                  <a:pos x="connsiteX1" y="connsiteY1"/>
                </a:cxn>
                <a:cxn ang="0">
                  <a:pos x="connsiteX2" y="connsiteY2"/>
                </a:cxn>
                <a:cxn ang="0">
                  <a:pos x="connsiteX3" y="connsiteY3"/>
                </a:cxn>
              </a:cxnLst>
              <a:rect l="l" t="t" r="r" b="b"/>
              <a:pathLst>
                <a:path w="22783" h="22783">
                  <a:moveTo>
                    <a:pt x="18698" y="22784"/>
                  </a:moveTo>
                  <a:cubicBezTo>
                    <a:pt x="19888" y="16716"/>
                    <a:pt x="21260" y="10697"/>
                    <a:pt x="22784" y="4763"/>
                  </a:cubicBezTo>
                  <a:lnTo>
                    <a:pt x="4324" y="0"/>
                  </a:lnTo>
                  <a:cubicBezTo>
                    <a:pt x="2717" y="6286"/>
                    <a:pt x="1276" y="12656"/>
                    <a:pt x="0" y="19107"/>
                  </a:cubicBezTo>
                  <a:close/>
                </a:path>
              </a:pathLst>
            </a:custGeom>
            <a:solidFill>
              <a:schemeClr val="bg1"/>
            </a:solidFill>
            <a:ln w="9525" cap="flat">
              <a:solidFill>
                <a:srgbClr val="00BFB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29" name="Freeform: Shape 28">
              <a:extLst>
                <a:ext uri="{FF2B5EF4-FFF2-40B4-BE49-F238E27FC236}">
                  <a16:creationId xmlns:a16="http://schemas.microsoft.com/office/drawing/2014/main" id="{290DA4A5-67CE-28EC-4BA6-9F4BC8290F7F}"/>
                </a:ext>
              </a:extLst>
            </p:cNvPr>
            <p:cNvSpPr/>
            <p:nvPr/>
          </p:nvSpPr>
          <p:spPr>
            <a:xfrm>
              <a:off x="1572830" y="1608347"/>
              <a:ext cx="25984" cy="25984"/>
            </a:xfrm>
            <a:custGeom>
              <a:avLst/>
              <a:gdLst>
                <a:gd name="connsiteX0" fmla="*/ 0 w 25984"/>
                <a:gd name="connsiteY0" fmla="*/ 17021 h 25984"/>
                <a:gd name="connsiteX1" fmla="*/ 16821 w 25984"/>
                <a:gd name="connsiteY1" fmla="*/ 25984 h 25984"/>
                <a:gd name="connsiteX2" fmla="*/ 25984 w 25984"/>
                <a:gd name="connsiteY2" fmla="*/ 9916 h 25984"/>
                <a:gd name="connsiteX3" fmla="*/ 9725 w 25984"/>
                <a:gd name="connsiteY3" fmla="*/ 0 h 25984"/>
                <a:gd name="connsiteX4" fmla="*/ 0 w 25984"/>
                <a:gd name="connsiteY4" fmla="*/ 17021 h 259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84" h="25984">
                  <a:moveTo>
                    <a:pt x="0" y="17021"/>
                  </a:moveTo>
                  <a:lnTo>
                    <a:pt x="16821" y="25984"/>
                  </a:lnTo>
                  <a:cubicBezTo>
                    <a:pt x="19717" y="20524"/>
                    <a:pt x="22771" y="15167"/>
                    <a:pt x="25984" y="9916"/>
                  </a:cubicBezTo>
                  <a:lnTo>
                    <a:pt x="9725" y="0"/>
                  </a:lnTo>
                  <a:cubicBezTo>
                    <a:pt x="6334" y="5556"/>
                    <a:pt x="3093" y="11230"/>
                    <a:pt x="0" y="17021"/>
                  </a:cubicBezTo>
                  <a:close/>
                </a:path>
              </a:pathLst>
            </a:custGeom>
            <a:solidFill>
              <a:schemeClr val="bg1"/>
            </a:solidFill>
            <a:ln w="9525" cap="flat">
              <a:solidFill>
                <a:srgbClr val="00BFB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30" name="Freeform: Shape 29">
              <a:extLst>
                <a:ext uri="{FF2B5EF4-FFF2-40B4-BE49-F238E27FC236}">
                  <a16:creationId xmlns:a16="http://schemas.microsoft.com/office/drawing/2014/main" id="{EEF431D7-29B4-82CD-A7DD-AC9B7A98FE33}"/>
                </a:ext>
              </a:extLst>
            </p:cNvPr>
            <p:cNvSpPr/>
            <p:nvPr/>
          </p:nvSpPr>
          <p:spPr>
            <a:xfrm>
              <a:off x="1534282" y="1746526"/>
              <a:ext cx="20431" cy="20421"/>
            </a:xfrm>
            <a:custGeom>
              <a:avLst/>
              <a:gdLst>
                <a:gd name="connsiteX0" fmla="*/ 19031 w 20431"/>
                <a:gd name="connsiteY0" fmla="*/ 20422 h 20421"/>
                <a:gd name="connsiteX1" fmla="*/ 20431 w 20431"/>
                <a:gd name="connsiteY1" fmla="*/ 1972 h 20421"/>
                <a:gd name="connsiteX2" fmla="*/ 1467 w 20431"/>
                <a:gd name="connsiteY2" fmla="*/ 0 h 20421"/>
                <a:gd name="connsiteX3" fmla="*/ 0 w 20431"/>
                <a:gd name="connsiteY3" fmla="*/ 19526 h 20421"/>
              </a:gdLst>
              <a:ahLst/>
              <a:cxnLst>
                <a:cxn ang="0">
                  <a:pos x="connsiteX0" y="connsiteY0"/>
                </a:cxn>
                <a:cxn ang="0">
                  <a:pos x="connsiteX1" y="connsiteY1"/>
                </a:cxn>
                <a:cxn ang="0">
                  <a:pos x="connsiteX2" y="connsiteY2"/>
                </a:cxn>
                <a:cxn ang="0">
                  <a:pos x="connsiteX3" y="connsiteY3"/>
                </a:cxn>
              </a:cxnLst>
              <a:rect l="l" t="t" r="r" b="b"/>
              <a:pathLst>
                <a:path w="20431" h="20421">
                  <a:moveTo>
                    <a:pt x="19031" y="20422"/>
                  </a:moveTo>
                  <a:cubicBezTo>
                    <a:pt x="19317" y="14224"/>
                    <a:pt x="19783" y="8074"/>
                    <a:pt x="20431" y="1972"/>
                  </a:cubicBezTo>
                  <a:lnTo>
                    <a:pt x="1467" y="0"/>
                  </a:lnTo>
                  <a:cubicBezTo>
                    <a:pt x="800" y="6448"/>
                    <a:pt x="305" y="12973"/>
                    <a:pt x="0" y="19526"/>
                  </a:cubicBezTo>
                  <a:close/>
                </a:path>
              </a:pathLst>
            </a:custGeom>
            <a:solidFill>
              <a:schemeClr val="bg1"/>
            </a:solidFill>
            <a:ln w="9525" cap="flat">
              <a:solidFill>
                <a:srgbClr val="00BFB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31" name="Freeform: Shape 30">
              <a:extLst>
                <a:ext uri="{FF2B5EF4-FFF2-40B4-BE49-F238E27FC236}">
                  <a16:creationId xmlns:a16="http://schemas.microsoft.com/office/drawing/2014/main" id="{17B1206B-F582-8B6D-C5A1-FE432B4BC50C}"/>
                </a:ext>
              </a:extLst>
            </p:cNvPr>
            <p:cNvSpPr/>
            <p:nvPr/>
          </p:nvSpPr>
          <p:spPr>
            <a:xfrm>
              <a:off x="1553056" y="1651905"/>
              <a:ext cx="24669" cy="24679"/>
            </a:xfrm>
            <a:custGeom>
              <a:avLst/>
              <a:gdLst>
                <a:gd name="connsiteX0" fmla="*/ 0 w 24669"/>
                <a:gd name="connsiteY0" fmla="*/ 18298 h 24679"/>
                <a:gd name="connsiteX1" fmla="*/ 17955 w 24669"/>
                <a:gd name="connsiteY1" fmla="*/ 24679 h 24679"/>
                <a:gd name="connsiteX2" fmla="*/ 24670 w 24669"/>
                <a:gd name="connsiteY2" fmla="*/ 7420 h 24679"/>
                <a:gd name="connsiteX3" fmla="*/ 7125 w 24669"/>
                <a:gd name="connsiteY3" fmla="*/ 0 h 24679"/>
                <a:gd name="connsiteX4" fmla="*/ 0 w 24669"/>
                <a:gd name="connsiteY4" fmla="*/ 18298 h 246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669" h="24679">
                  <a:moveTo>
                    <a:pt x="0" y="18298"/>
                  </a:moveTo>
                  <a:lnTo>
                    <a:pt x="17955" y="24679"/>
                  </a:lnTo>
                  <a:cubicBezTo>
                    <a:pt x="20024" y="18843"/>
                    <a:pt x="22263" y="13090"/>
                    <a:pt x="24670" y="7420"/>
                  </a:cubicBezTo>
                  <a:lnTo>
                    <a:pt x="7125" y="0"/>
                  </a:lnTo>
                  <a:cubicBezTo>
                    <a:pt x="4572" y="6013"/>
                    <a:pt x="2197" y="12113"/>
                    <a:pt x="0" y="18298"/>
                  </a:cubicBezTo>
                  <a:close/>
                </a:path>
              </a:pathLst>
            </a:custGeom>
            <a:solidFill>
              <a:schemeClr val="bg1"/>
            </a:solidFill>
            <a:ln w="9525" cap="flat">
              <a:solidFill>
                <a:srgbClr val="00BFB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32" name="Freeform: Shape 31">
              <a:extLst>
                <a:ext uri="{FF2B5EF4-FFF2-40B4-BE49-F238E27FC236}">
                  <a16:creationId xmlns:a16="http://schemas.microsoft.com/office/drawing/2014/main" id="{71FDD0FF-2D43-F8BB-0EFB-64E61CDFCFF5}"/>
                </a:ext>
              </a:extLst>
            </p:cNvPr>
            <p:cNvSpPr/>
            <p:nvPr/>
          </p:nvSpPr>
          <p:spPr>
            <a:xfrm>
              <a:off x="1598967" y="1568514"/>
              <a:ext cx="26755" cy="26736"/>
            </a:xfrm>
            <a:custGeom>
              <a:avLst/>
              <a:gdLst>
                <a:gd name="connsiteX0" fmla="*/ 12106 w 26755"/>
                <a:gd name="connsiteY0" fmla="*/ 0 h 26736"/>
                <a:gd name="connsiteX1" fmla="*/ 0 w 26755"/>
                <a:gd name="connsiteY1" fmla="*/ 15421 h 26736"/>
                <a:gd name="connsiteX2" fmla="*/ 15326 w 26755"/>
                <a:gd name="connsiteY2" fmla="*/ 26737 h 26736"/>
                <a:gd name="connsiteX3" fmla="*/ 26756 w 26755"/>
                <a:gd name="connsiteY3" fmla="*/ 12182 h 26736"/>
              </a:gdLst>
              <a:ahLst/>
              <a:cxnLst>
                <a:cxn ang="0">
                  <a:pos x="connsiteX0" y="connsiteY0"/>
                </a:cxn>
                <a:cxn ang="0">
                  <a:pos x="connsiteX1" y="connsiteY1"/>
                </a:cxn>
                <a:cxn ang="0">
                  <a:pos x="connsiteX2" y="connsiteY2"/>
                </a:cxn>
                <a:cxn ang="0">
                  <a:pos x="connsiteX3" y="connsiteY3"/>
                </a:cxn>
              </a:cxnLst>
              <a:rect l="l" t="t" r="r" b="b"/>
              <a:pathLst>
                <a:path w="26755" h="26736">
                  <a:moveTo>
                    <a:pt x="12106" y="0"/>
                  </a:moveTo>
                  <a:cubicBezTo>
                    <a:pt x="7922" y="5010"/>
                    <a:pt x="3886" y="10151"/>
                    <a:pt x="0" y="15421"/>
                  </a:cubicBezTo>
                  <a:lnTo>
                    <a:pt x="15326" y="26737"/>
                  </a:lnTo>
                  <a:cubicBezTo>
                    <a:pt x="18996" y="21765"/>
                    <a:pt x="22806" y="16914"/>
                    <a:pt x="26756" y="12182"/>
                  </a:cubicBezTo>
                  <a:close/>
                </a:path>
              </a:pathLst>
            </a:custGeom>
            <a:solidFill>
              <a:schemeClr val="bg1"/>
            </a:solidFill>
            <a:ln w="9525" cap="flat">
              <a:solidFill>
                <a:srgbClr val="00BFB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33" name="Freeform: Shape 32">
              <a:extLst>
                <a:ext uri="{FF2B5EF4-FFF2-40B4-BE49-F238E27FC236}">
                  <a16:creationId xmlns:a16="http://schemas.microsoft.com/office/drawing/2014/main" id="{4135FC26-FAEB-C8D3-81B7-0FFC4A234ACD}"/>
                </a:ext>
              </a:extLst>
            </p:cNvPr>
            <p:cNvSpPr/>
            <p:nvPr/>
          </p:nvSpPr>
          <p:spPr>
            <a:xfrm>
              <a:off x="1539788" y="1840538"/>
              <a:ext cx="22707" cy="22698"/>
            </a:xfrm>
            <a:custGeom>
              <a:avLst/>
              <a:gdLst>
                <a:gd name="connsiteX0" fmla="*/ 4248 w 22707"/>
                <a:gd name="connsiteY0" fmla="*/ 22698 h 22698"/>
                <a:gd name="connsiteX1" fmla="*/ 22708 w 22707"/>
                <a:gd name="connsiteY1" fmla="*/ 18012 h 22698"/>
                <a:gd name="connsiteX2" fmla="*/ 18717 w 22707"/>
                <a:gd name="connsiteY2" fmla="*/ 0 h 22698"/>
                <a:gd name="connsiteX3" fmla="*/ 0 w 22707"/>
                <a:gd name="connsiteY3" fmla="*/ 3543 h 22698"/>
                <a:gd name="connsiteX4" fmla="*/ 4248 w 22707"/>
                <a:gd name="connsiteY4" fmla="*/ 22698 h 226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707" h="22698">
                  <a:moveTo>
                    <a:pt x="4248" y="22698"/>
                  </a:moveTo>
                  <a:lnTo>
                    <a:pt x="22708" y="18012"/>
                  </a:lnTo>
                  <a:cubicBezTo>
                    <a:pt x="21203" y="12078"/>
                    <a:pt x="19850" y="6067"/>
                    <a:pt x="18717" y="0"/>
                  </a:cubicBezTo>
                  <a:lnTo>
                    <a:pt x="0" y="3543"/>
                  </a:lnTo>
                  <a:cubicBezTo>
                    <a:pt x="1226" y="9995"/>
                    <a:pt x="2641" y="16380"/>
                    <a:pt x="4248" y="22698"/>
                  </a:cubicBezTo>
                  <a:close/>
                </a:path>
              </a:pathLst>
            </a:custGeom>
            <a:solidFill>
              <a:schemeClr val="bg1"/>
            </a:solidFill>
            <a:ln w="9525" cap="flat">
              <a:solidFill>
                <a:srgbClr val="00BFB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34" name="Freeform: Shape 33">
              <a:extLst>
                <a:ext uri="{FF2B5EF4-FFF2-40B4-BE49-F238E27FC236}">
                  <a16:creationId xmlns:a16="http://schemas.microsoft.com/office/drawing/2014/main" id="{6CF19931-0E9C-2D90-4ACA-4F0598B3603C}"/>
                </a:ext>
              </a:extLst>
            </p:cNvPr>
            <p:cNvSpPr/>
            <p:nvPr/>
          </p:nvSpPr>
          <p:spPr>
            <a:xfrm>
              <a:off x="1752043" y="2076549"/>
              <a:ext cx="24164" cy="24126"/>
            </a:xfrm>
            <a:custGeom>
              <a:avLst/>
              <a:gdLst>
                <a:gd name="connsiteX0" fmla="*/ 24165 w 24164"/>
                <a:gd name="connsiteY0" fmla="*/ 5896 h 24126"/>
                <a:gd name="connsiteX1" fmla="*/ 6610 w 24164"/>
                <a:gd name="connsiteY1" fmla="*/ 0 h 24126"/>
                <a:gd name="connsiteX2" fmla="*/ 0 w 24164"/>
                <a:gd name="connsiteY2" fmla="*/ 17878 h 24126"/>
                <a:gd name="connsiteX3" fmla="*/ 18612 w 24164"/>
                <a:gd name="connsiteY3" fmla="*/ 24127 h 24126"/>
              </a:gdLst>
              <a:ahLst/>
              <a:cxnLst>
                <a:cxn ang="0">
                  <a:pos x="connsiteX0" y="connsiteY0"/>
                </a:cxn>
                <a:cxn ang="0">
                  <a:pos x="connsiteX1" y="connsiteY1"/>
                </a:cxn>
                <a:cxn ang="0">
                  <a:pos x="connsiteX2" y="connsiteY2"/>
                </a:cxn>
                <a:cxn ang="0">
                  <a:pos x="connsiteX3" y="connsiteY3"/>
                </a:cxn>
              </a:cxnLst>
              <a:rect l="l" t="t" r="r" b="b"/>
              <a:pathLst>
                <a:path w="24164" h="24126">
                  <a:moveTo>
                    <a:pt x="24165" y="5896"/>
                  </a:moveTo>
                  <a:cubicBezTo>
                    <a:pt x="18234" y="4093"/>
                    <a:pt x="12382" y="2127"/>
                    <a:pt x="6610" y="0"/>
                  </a:cubicBezTo>
                  <a:lnTo>
                    <a:pt x="0" y="17878"/>
                  </a:lnTo>
                  <a:cubicBezTo>
                    <a:pt x="6127" y="20133"/>
                    <a:pt x="12332" y="22215"/>
                    <a:pt x="18612" y="24127"/>
                  </a:cubicBezTo>
                  <a:close/>
                </a:path>
              </a:pathLst>
            </a:custGeom>
            <a:solidFill>
              <a:schemeClr val="bg1"/>
            </a:solidFill>
            <a:ln w="9525" cap="flat">
              <a:solidFill>
                <a:srgbClr val="00BFB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35" name="Freeform: Shape 34">
              <a:extLst>
                <a:ext uri="{FF2B5EF4-FFF2-40B4-BE49-F238E27FC236}">
                  <a16:creationId xmlns:a16="http://schemas.microsoft.com/office/drawing/2014/main" id="{929F2BE7-BEB4-BA03-405C-78F92E28B8DB}"/>
                </a:ext>
              </a:extLst>
            </p:cNvPr>
            <p:cNvSpPr/>
            <p:nvPr/>
          </p:nvSpPr>
          <p:spPr>
            <a:xfrm>
              <a:off x="1709028" y="1479398"/>
              <a:ext cx="25546" cy="25565"/>
            </a:xfrm>
            <a:custGeom>
              <a:avLst/>
              <a:gdLst>
                <a:gd name="connsiteX0" fmla="*/ 17497 w 25546"/>
                <a:gd name="connsiteY0" fmla="*/ 0 h 25565"/>
                <a:gd name="connsiteX1" fmla="*/ 0 w 25546"/>
                <a:gd name="connsiteY1" fmla="*/ 8820 h 25565"/>
                <a:gd name="connsiteX2" fmla="*/ 9077 w 25546"/>
                <a:gd name="connsiteY2" fmla="*/ 25565 h 25565"/>
                <a:gd name="connsiteX3" fmla="*/ 25546 w 25546"/>
                <a:gd name="connsiteY3" fmla="*/ 17269 h 25565"/>
              </a:gdLst>
              <a:ahLst/>
              <a:cxnLst>
                <a:cxn ang="0">
                  <a:pos x="connsiteX0" y="connsiteY0"/>
                </a:cxn>
                <a:cxn ang="0">
                  <a:pos x="connsiteX1" y="connsiteY1"/>
                </a:cxn>
                <a:cxn ang="0">
                  <a:pos x="connsiteX2" y="connsiteY2"/>
                </a:cxn>
                <a:cxn ang="0">
                  <a:pos x="connsiteX3" y="connsiteY3"/>
                </a:cxn>
              </a:cxnLst>
              <a:rect l="l" t="t" r="r" b="b"/>
              <a:pathLst>
                <a:path w="25546" h="25565">
                  <a:moveTo>
                    <a:pt x="17497" y="0"/>
                  </a:moveTo>
                  <a:cubicBezTo>
                    <a:pt x="11566" y="2775"/>
                    <a:pt x="5734" y="5715"/>
                    <a:pt x="0" y="8820"/>
                  </a:cubicBezTo>
                  <a:lnTo>
                    <a:pt x="9077" y="25565"/>
                  </a:lnTo>
                  <a:cubicBezTo>
                    <a:pt x="14468" y="22644"/>
                    <a:pt x="19958" y="19879"/>
                    <a:pt x="25546" y="17269"/>
                  </a:cubicBezTo>
                  <a:close/>
                </a:path>
              </a:pathLst>
            </a:custGeom>
            <a:solidFill>
              <a:schemeClr val="bg1"/>
            </a:solidFill>
            <a:ln w="9525" cap="flat">
              <a:solidFill>
                <a:srgbClr val="00BFB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36" name="Freeform: Shape 35">
              <a:extLst>
                <a:ext uri="{FF2B5EF4-FFF2-40B4-BE49-F238E27FC236}">
                  <a16:creationId xmlns:a16="http://schemas.microsoft.com/office/drawing/2014/main" id="{228F4AEF-50EA-00F6-021E-615DBB280D35}"/>
                </a:ext>
              </a:extLst>
            </p:cNvPr>
            <p:cNvSpPr/>
            <p:nvPr/>
          </p:nvSpPr>
          <p:spPr>
            <a:xfrm>
              <a:off x="1753634" y="1461996"/>
              <a:ext cx="24060" cy="24060"/>
            </a:xfrm>
            <a:custGeom>
              <a:avLst/>
              <a:gdLst>
                <a:gd name="connsiteX0" fmla="*/ 18621 w 24060"/>
                <a:gd name="connsiteY0" fmla="*/ 0 h 24060"/>
                <a:gd name="connsiteX1" fmla="*/ 0 w 24060"/>
                <a:gd name="connsiteY1" fmla="*/ 6163 h 24060"/>
                <a:gd name="connsiteX2" fmla="*/ 6534 w 24060"/>
                <a:gd name="connsiteY2" fmla="*/ 24060 h 24060"/>
                <a:gd name="connsiteX3" fmla="*/ 24060 w 24060"/>
                <a:gd name="connsiteY3" fmla="*/ 18269 h 24060"/>
              </a:gdLst>
              <a:ahLst/>
              <a:cxnLst>
                <a:cxn ang="0">
                  <a:pos x="connsiteX0" y="connsiteY0"/>
                </a:cxn>
                <a:cxn ang="0">
                  <a:pos x="connsiteX1" y="connsiteY1"/>
                </a:cxn>
                <a:cxn ang="0">
                  <a:pos x="connsiteX2" y="connsiteY2"/>
                </a:cxn>
                <a:cxn ang="0">
                  <a:pos x="connsiteX3" y="connsiteY3"/>
                </a:cxn>
              </a:cxnLst>
              <a:rect l="l" t="t" r="r" b="b"/>
              <a:pathLst>
                <a:path w="24060" h="24060">
                  <a:moveTo>
                    <a:pt x="18621" y="0"/>
                  </a:moveTo>
                  <a:cubicBezTo>
                    <a:pt x="12335" y="1905"/>
                    <a:pt x="6127" y="3960"/>
                    <a:pt x="0" y="6163"/>
                  </a:cubicBezTo>
                  <a:lnTo>
                    <a:pt x="6534" y="24060"/>
                  </a:lnTo>
                  <a:cubicBezTo>
                    <a:pt x="12249" y="21955"/>
                    <a:pt x="18145" y="20031"/>
                    <a:pt x="24060" y="18269"/>
                  </a:cubicBezTo>
                  <a:close/>
                </a:path>
              </a:pathLst>
            </a:custGeom>
            <a:solidFill>
              <a:schemeClr val="bg1"/>
            </a:solidFill>
            <a:ln w="9525" cap="flat">
              <a:solidFill>
                <a:srgbClr val="00BFB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37" name="Freeform: Shape 36">
              <a:extLst>
                <a:ext uri="{FF2B5EF4-FFF2-40B4-BE49-F238E27FC236}">
                  <a16:creationId xmlns:a16="http://schemas.microsoft.com/office/drawing/2014/main" id="{31319837-0984-7863-ECB0-E9D26BCB2E8A}"/>
                </a:ext>
              </a:extLst>
            </p:cNvPr>
            <p:cNvSpPr/>
            <p:nvPr/>
          </p:nvSpPr>
          <p:spPr>
            <a:xfrm>
              <a:off x="1799182" y="2089312"/>
              <a:ext cx="22059" cy="22078"/>
            </a:xfrm>
            <a:custGeom>
              <a:avLst/>
              <a:gdLst>
                <a:gd name="connsiteX0" fmla="*/ 3867 w 22059"/>
                <a:gd name="connsiteY0" fmla="*/ 0 h 22078"/>
                <a:gd name="connsiteX1" fmla="*/ 0 w 22059"/>
                <a:gd name="connsiteY1" fmla="*/ 18659 h 22078"/>
                <a:gd name="connsiteX2" fmla="*/ 19288 w 22059"/>
                <a:gd name="connsiteY2" fmla="*/ 22079 h 22078"/>
                <a:gd name="connsiteX3" fmla="*/ 22060 w 22059"/>
                <a:gd name="connsiteY3" fmla="*/ 3229 h 22078"/>
                <a:gd name="connsiteX4" fmla="*/ 3867 w 22059"/>
                <a:gd name="connsiteY4" fmla="*/ 0 h 220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59" h="22078">
                  <a:moveTo>
                    <a:pt x="3867" y="0"/>
                  </a:moveTo>
                  <a:lnTo>
                    <a:pt x="0" y="18659"/>
                  </a:lnTo>
                  <a:cubicBezTo>
                    <a:pt x="6350" y="19974"/>
                    <a:pt x="12780" y="21114"/>
                    <a:pt x="19288" y="22079"/>
                  </a:cubicBezTo>
                  <a:lnTo>
                    <a:pt x="22060" y="3229"/>
                  </a:lnTo>
                  <a:cubicBezTo>
                    <a:pt x="15935" y="2334"/>
                    <a:pt x="9877" y="1238"/>
                    <a:pt x="3867" y="0"/>
                  </a:cubicBezTo>
                  <a:close/>
                </a:path>
              </a:pathLst>
            </a:custGeom>
            <a:solidFill>
              <a:schemeClr val="bg1"/>
            </a:solidFill>
            <a:ln w="9525" cap="flat">
              <a:solidFill>
                <a:srgbClr val="00BFB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38" name="Freeform: Shape 37">
              <a:extLst>
                <a:ext uri="{FF2B5EF4-FFF2-40B4-BE49-F238E27FC236}">
                  <a16:creationId xmlns:a16="http://schemas.microsoft.com/office/drawing/2014/main" id="{CC328F44-646E-6DA4-9E4A-BE9BE87D0C21}"/>
                </a:ext>
              </a:extLst>
            </p:cNvPr>
            <p:cNvSpPr/>
            <p:nvPr/>
          </p:nvSpPr>
          <p:spPr>
            <a:xfrm>
              <a:off x="1800811" y="1451537"/>
              <a:ext cx="22031" cy="22002"/>
            </a:xfrm>
            <a:custGeom>
              <a:avLst/>
              <a:gdLst>
                <a:gd name="connsiteX0" fmla="*/ 19298 w 22031"/>
                <a:gd name="connsiteY0" fmla="*/ 0 h 22002"/>
                <a:gd name="connsiteX1" fmla="*/ 0 w 22031"/>
                <a:gd name="connsiteY1" fmla="*/ 3324 h 22002"/>
                <a:gd name="connsiteX2" fmla="*/ 3810 w 22031"/>
                <a:gd name="connsiteY2" fmla="*/ 22003 h 22002"/>
                <a:gd name="connsiteX3" fmla="*/ 22031 w 22031"/>
                <a:gd name="connsiteY3" fmla="*/ 18859 h 22002"/>
              </a:gdLst>
              <a:ahLst/>
              <a:cxnLst>
                <a:cxn ang="0">
                  <a:pos x="connsiteX0" y="connsiteY0"/>
                </a:cxn>
                <a:cxn ang="0">
                  <a:pos x="connsiteX1" y="connsiteY1"/>
                </a:cxn>
                <a:cxn ang="0">
                  <a:pos x="connsiteX2" y="connsiteY2"/>
                </a:cxn>
                <a:cxn ang="0">
                  <a:pos x="connsiteX3" y="connsiteY3"/>
                </a:cxn>
              </a:cxnLst>
              <a:rect l="l" t="t" r="r" b="b"/>
              <a:pathLst>
                <a:path w="22031" h="22002">
                  <a:moveTo>
                    <a:pt x="19298" y="0"/>
                  </a:moveTo>
                  <a:cubicBezTo>
                    <a:pt x="12802" y="927"/>
                    <a:pt x="6369" y="2035"/>
                    <a:pt x="0" y="3324"/>
                  </a:cubicBezTo>
                  <a:lnTo>
                    <a:pt x="3810" y="22003"/>
                  </a:lnTo>
                  <a:cubicBezTo>
                    <a:pt x="9830" y="20774"/>
                    <a:pt x="15916" y="19736"/>
                    <a:pt x="22031" y="18859"/>
                  </a:cubicBezTo>
                  <a:close/>
                </a:path>
              </a:pathLst>
            </a:custGeom>
            <a:solidFill>
              <a:schemeClr val="bg1"/>
            </a:solidFill>
            <a:ln w="9525" cap="flat">
              <a:solidFill>
                <a:srgbClr val="00BFB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39" name="Freeform: Shape 38">
              <a:extLst>
                <a:ext uri="{FF2B5EF4-FFF2-40B4-BE49-F238E27FC236}">
                  <a16:creationId xmlns:a16="http://schemas.microsoft.com/office/drawing/2014/main" id="{FCE0048A-B522-1F21-2A60-EED62388A8A5}"/>
                </a:ext>
              </a:extLst>
            </p:cNvPr>
            <p:cNvSpPr/>
            <p:nvPr/>
          </p:nvSpPr>
          <p:spPr>
            <a:xfrm>
              <a:off x="1630866" y="1533271"/>
              <a:ext cx="26917" cy="26917"/>
            </a:xfrm>
            <a:custGeom>
              <a:avLst/>
              <a:gdLst>
                <a:gd name="connsiteX0" fmla="*/ 14192 w 26917"/>
                <a:gd name="connsiteY0" fmla="*/ 0 h 26917"/>
                <a:gd name="connsiteX1" fmla="*/ 0 w 26917"/>
                <a:gd name="connsiteY1" fmla="*/ 13487 h 26917"/>
                <a:gd name="connsiteX2" fmla="*/ 13506 w 26917"/>
                <a:gd name="connsiteY2" fmla="*/ 26918 h 26917"/>
                <a:gd name="connsiteX3" fmla="*/ 26918 w 26917"/>
                <a:gd name="connsiteY3" fmla="*/ 14173 h 26917"/>
              </a:gdLst>
              <a:ahLst/>
              <a:cxnLst>
                <a:cxn ang="0">
                  <a:pos x="connsiteX0" y="connsiteY0"/>
                </a:cxn>
                <a:cxn ang="0">
                  <a:pos x="connsiteX1" y="connsiteY1"/>
                </a:cxn>
                <a:cxn ang="0">
                  <a:pos x="connsiteX2" y="connsiteY2"/>
                </a:cxn>
                <a:cxn ang="0">
                  <a:pos x="connsiteX3" y="connsiteY3"/>
                </a:cxn>
              </a:cxnLst>
              <a:rect l="l" t="t" r="r" b="b"/>
              <a:pathLst>
                <a:path w="26917" h="26917">
                  <a:moveTo>
                    <a:pt x="14192" y="0"/>
                  </a:moveTo>
                  <a:cubicBezTo>
                    <a:pt x="9322" y="4362"/>
                    <a:pt x="4591" y="8858"/>
                    <a:pt x="0" y="13487"/>
                  </a:cubicBezTo>
                  <a:lnTo>
                    <a:pt x="13506" y="26918"/>
                  </a:lnTo>
                  <a:cubicBezTo>
                    <a:pt x="17862" y="22543"/>
                    <a:pt x="22333" y="18295"/>
                    <a:pt x="26918" y="14173"/>
                  </a:cubicBezTo>
                  <a:close/>
                </a:path>
              </a:pathLst>
            </a:custGeom>
            <a:solidFill>
              <a:schemeClr val="bg1"/>
            </a:solidFill>
            <a:ln w="9525" cap="flat">
              <a:solidFill>
                <a:srgbClr val="00BFB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40" name="Freeform: Shape 39">
              <a:extLst>
                <a:ext uri="{FF2B5EF4-FFF2-40B4-BE49-F238E27FC236}">
                  <a16:creationId xmlns:a16="http://schemas.microsoft.com/office/drawing/2014/main" id="{96DEE493-1DBF-7537-A61B-218827CB38A4}"/>
                </a:ext>
              </a:extLst>
            </p:cNvPr>
            <p:cNvSpPr/>
            <p:nvPr/>
          </p:nvSpPr>
          <p:spPr>
            <a:xfrm>
              <a:off x="1707466" y="2057394"/>
              <a:ext cx="25631" cy="25622"/>
            </a:xfrm>
            <a:custGeom>
              <a:avLst/>
              <a:gdLst>
                <a:gd name="connsiteX0" fmla="*/ 25632 w 25631"/>
                <a:gd name="connsiteY0" fmla="*/ 8401 h 25622"/>
                <a:gd name="connsiteX1" fmla="*/ 9173 w 25631"/>
                <a:gd name="connsiteY1" fmla="*/ 0 h 25622"/>
                <a:gd name="connsiteX2" fmla="*/ 0 w 25631"/>
                <a:gd name="connsiteY2" fmla="*/ 16688 h 25622"/>
                <a:gd name="connsiteX3" fmla="*/ 17488 w 25631"/>
                <a:gd name="connsiteY3" fmla="*/ 25622 h 25622"/>
              </a:gdLst>
              <a:ahLst/>
              <a:cxnLst>
                <a:cxn ang="0">
                  <a:pos x="connsiteX0" y="connsiteY0"/>
                </a:cxn>
                <a:cxn ang="0">
                  <a:pos x="connsiteX1" y="connsiteY1"/>
                </a:cxn>
                <a:cxn ang="0">
                  <a:pos x="connsiteX2" y="connsiteY2"/>
                </a:cxn>
                <a:cxn ang="0">
                  <a:pos x="connsiteX3" y="connsiteY3"/>
                </a:cxn>
              </a:cxnLst>
              <a:rect l="l" t="t" r="r" b="b"/>
              <a:pathLst>
                <a:path w="25631" h="25622">
                  <a:moveTo>
                    <a:pt x="25632" y="8401"/>
                  </a:moveTo>
                  <a:cubicBezTo>
                    <a:pt x="20050" y="5760"/>
                    <a:pt x="14564" y="2959"/>
                    <a:pt x="9173" y="0"/>
                  </a:cubicBezTo>
                  <a:lnTo>
                    <a:pt x="0" y="16688"/>
                  </a:lnTo>
                  <a:cubicBezTo>
                    <a:pt x="5715" y="19862"/>
                    <a:pt x="11544" y="22841"/>
                    <a:pt x="17488" y="25622"/>
                  </a:cubicBezTo>
                  <a:close/>
                </a:path>
              </a:pathLst>
            </a:custGeom>
            <a:solidFill>
              <a:schemeClr val="bg1"/>
            </a:solidFill>
            <a:ln w="9525" cap="flat">
              <a:solidFill>
                <a:srgbClr val="00BFB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41" name="Freeform: Shape 40">
              <a:extLst>
                <a:ext uri="{FF2B5EF4-FFF2-40B4-BE49-F238E27FC236}">
                  <a16:creationId xmlns:a16="http://schemas.microsoft.com/office/drawing/2014/main" id="{036C68CB-B0CA-97C7-A831-C62AB7E103AD}"/>
                </a:ext>
              </a:extLst>
            </p:cNvPr>
            <p:cNvSpPr/>
            <p:nvPr/>
          </p:nvSpPr>
          <p:spPr>
            <a:xfrm>
              <a:off x="1629580" y="2001768"/>
              <a:ext cx="26936" cy="26908"/>
            </a:xfrm>
            <a:custGeom>
              <a:avLst/>
              <a:gdLst>
                <a:gd name="connsiteX0" fmla="*/ 26937 w 26936"/>
                <a:gd name="connsiteY0" fmla="*/ 12802 h 26908"/>
                <a:gd name="connsiteX1" fmla="*/ 13602 w 26936"/>
                <a:gd name="connsiteY1" fmla="*/ 0 h 26908"/>
                <a:gd name="connsiteX2" fmla="*/ 0 w 26936"/>
                <a:gd name="connsiteY2" fmla="*/ 13335 h 26908"/>
                <a:gd name="connsiteX3" fmla="*/ 14145 w 26936"/>
                <a:gd name="connsiteY3" fmla="*/ 26908 h 26908"/>
              </a:gdLst>
              <a:ahLst/>
              <a:cxnLst>
                <a:cxn ang="0">
                  <a:pos x="connsiteX0" y="connsiteY0"/>
                </a:cxn>
                <a:cxn ang="0">
                  <a:pos x="connsiteX1" y="connsiteY1"/>
                </a:cxn>
                <a:cxn ang="0">
                  <a:pos x="connsiteX2" y="connsiteY2"/>
                </a:cxn>
                <a:cxn ang="0">
                  <a:pos x="connsiteX3" y="connsiteY3"/>
                </a:cxn>
              </a:cxnLst>
              <a:rect l="l" t="t" r="r" b="b"/>
              <a:pathLst>
                <a:path w="26936" h="26908">
                  <a:moveTo>
                    <a:pt x="26937" y="12802"/>
                  </a:moveTo>
                  <a:cubicBezTo>
                    <a:pt x="22377" y="8655"/>
                    <a:pt x="17933" y="4388"/>
                    <a:pt x="13602" y="0"/>
                  </a:cubicBezTo>
                  <a:lnTo>
                    <a:pt x="0" y="13335"/>
                  </a:lnTo>
                  <a:cubicBezTo>
                    <a:pt x="4572" y="18002"/>
                    <a:pt x="9306" y="22527"/>
                    <a:pt x="14145" y="26908"/>
                  </a:cubicBezTo>
                  <a:close/>
                </a:path>
              </a:pathLst>
            </a:custGeom>
            <a:solidFill>
              <a:schemeClr val="bg1"/>
            </a:solidFill>
            <a:ln w="9525" cap="flat">
              <a:solidFill>
                <a:srgbClr val="00BFB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42" name="Freeform: Shape 41">
              <a:extLst>
                <a:ext uri="{FF2B5EF4-FFF2-40B4-BE49-F238E27FC236}">
                  <a16:creationId xmlns:a16="http://schemas.microsoft.com/office/drawing/2014/main" id="{1FDE04B1-21AA-88BB-7254-89D1988EAD86}"/>
                </a:ext>
              </a:extLst>
            </p:cNvPr>
            <p:cNvSpPr/>
            <p:nvPr/>
          </p:nvSpPr>
          <p:spPr>
            <a:xfrm>
              <a:off x="1666318" y="2032257"/>
              <a:ext cx="26603" cy="26565"/>
            </a:xfrm>
            <a:custGeom>
              <a:avLst/>
              <a:gdLst>
                <a:gd name="connsiteX0" fmla="*/ 26603 w 26603"/>
                <a:gd name="connsiteY0" fmla="*/ 10735 h 26565"/>
                <a:gd name="connsiteX1" fmla="*/ 11554 w 26603"/>
                <a:gd name="connsiteY1" fmla="*/ 0 h 26565"/>
                <a:gd name="connsiteX2" fmla="*/ 0 w 26603"/>
                <a:gd name="connsiteY2" fmla="*/ 15183 h 26565"/>
                <a:gd name="connsiteX3" fmla="*/ 15983 w 26603"/>
                <a:gd name="connsiteY3" fmla="*/ 26565 h 26565"/>
              </a:gdLst>
              <a:ahLst/>
              <a:cxnLst>
                <a:cxn ang="0">
                  <a:pos x="connsiteX0" y="connsiteY0"/>
                </a:cxn>
                <a:cxn ang="0">
                  <a:pos x="connsiteX1" y="connsiteY1"/>
                </a:cxn>
                <a:cxn ang="0">
                  <a:pos x="connsiteX2" y="connsiteY2"/>
                </a:cxn>
                <a:cxn ang="0">
                  <a:pos x="connsiteX3" y="connsiteY3"/>
                </a:cxn>
              </a:cxnLst>
              <a:rect l="l" t="t" r="r" b="b"/>
              <a:pathLst>
                <a:path w="26603" h="26565">
                  <a:moveTo>
                    <a:pt x="26603" y="10735"/>
                  </a:moveTo>
                  <a:cubicBezTo>
                    <a:pt x="21479" y="7306"/>
                    <a:pt x="16462" y="3727"/>
                    <a:pt x="11554" y="0"/>
                  </a:cubicBezTo>
                  <a:lnTo>
                    <a:pt x="0" y="15183"/>
                  </a:lnTo>
                  <a:cubicBezTo>
                    <a:pt x="5207" y="19133"/>
                    <a:pt x="10535" y="22927"/>
                    <a:pt x="15983" y="26565"/>
                  </a:cubicBezTo>
                  <a:close/>
                </a:path>
              </a:pathLst>
            </a:custGeom>
            <a:solidFill>
              <a:schemeClr val="bg1"/>
            </a:solidFill>
            <a:ln w="9525" cap="flat">
              <a:solidFill>
                <a:srgbClr val="00BFB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43" name="Freeform: Shape 42">
              <a:extLst>
                <a:ext uri="{FF2B5EF4-FFF2-40B4-BE49-F238E27FC236}">
                  <a16:creationId xmlns:a16="http://schemas.microsoft.com/office/drawing/2014/main" id="{D51BA108-0C83-4F4C-A747-25103108CF65}"/>
                </a:ext>
              </a:extLst>
            </p:cNvPr>
            <p:cNvSpPr/>
            <p:nvPr/>
          </p:nvSpPr>
          <p:spPr>
            <a:xfrm>
              <a:off x="1667804" y="1503344"/>
              <a:ext cx="26517" cy="26527"/>
            </a:xfrm>
            <a:custGeom>
              <a:avLst/>
              <a:gdLst>
                <a:gd name="connsiteX0" fmla="*/ 16012 w 26517"/>
                <a:gd name="connsiteY0" fmla="*/ 0 h 26527"/>
                <a:gd name="connsiteX1" fmla="*/ 0 w 26517"/>
                <a:gd name="connsiteY1" fmla="*/ 11287 h 26527"/>
                <a:gd name="connsiteX2" fmla="*/ 11430 w 26517"/>
                <a:gd name="connsiteY2" fmla="*/ 26527 h 26527"/>
                <a:gd name="connsiteX3" fmla="*/ 26518 w 26517"/>
                <a:gd name="connsiteY3" fmla="*/ 15897 h 26527"/>
              </a:gdLst>
              <a:ahLst/>
              <a:cxnLst>
                <a:cxn ang="0">
                  <a:pos x="connsiteX0" y="connsiteY0"/>
                </a:cxn>
                <a:cxn ang="0">
                  <a:pos x="connsiteX1" y="connsiteY1"/>
                </a:cxn>
                <a:cxn ang="0">
                  <a:pos x="connsiteX2" y="connsiteY2"/>
                </a:cxn>
                <a:cxn ang="0">
                  <a:pos x="connsiteX3" y="connsiteY3"/>
                </a:cxn>
              </a:cxnLst>
              <a:rect l="l" t="t" r="r" b="b"/>
              <a:pathLst>
                <a:path w="26517" h="26527">
                  <a:moveTo>
                    <a:pt x="16012" y="0"/>
                  </a:moveTo>
                  <a:cubicBezTo>
                    <a:pt x="10563" y="3600"/>
                    <a:pt x="5226" y="7363"/>
                    <a:pt x="0" y="11287"/>
                  </a:cubicBezTo>
                  <a:lnTo>
                    <a:pt x="11430" y="26527"/>
                  </a:lnTo>
                  <a:cubicBezTo>
                    <a:pt x="16335" y="22841"/>
                    <a:pt x="21384" y="19288"/>
                    <a:pt x="26518" y="15897"/>
                  </a:cubicBezTo>
                  <a:close/>
                </a:path>
              </a:pathLst>
            </a:custGeom>
            <a:solidFill>
              <a:schemeClr val="bg1"/>
            </a:solidFill>
            <a:ln w="9525" cap="flat">
              <a:solidFill>
                <a:srgbClr val="00BFB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44" name="Freeform: Shape 43">
              <a:extLst>
                <a:ext uri="{FF2B5EF4-FFF2-40B4-BE49-F238E27FC236}">
                  <a16:creationId xmlns:a16="http://schemas.microsoft.com/office/drawing/2014/main" id="{D5C4E2F0-A59F-FBDE-70D0-D6097AE57BF4}"/>
                </a:ext>
              </a:extLst>
            </p:cNvPr>
            <p:cNvSpPr/>
            <p:nvPr/>
          </p:nvSpPr>
          <p:spPr>
            <a:xfrm>
              <a:off x="1857771" y="1419629"/>
              <a:ext cx="371475" cy="723900"/>
            </a:xfrm>
            <a:custGeom>
              <a:avLst/>
              <a:gdLst>
                <a:gd name="connsiteX0" fmla="*/ 9525 w 371475"/>
                <a:gd name="connsiteY0" fmla="*/ 723900 h 723900"/>
                <a:gd name="connsiteX1" fmla="*/ 371475 w 371475"/>
                <a:gd name="connsiteY1" fmla="*/ 361950 h 723900"/>
                <a:gd name="connsiteX2" fmla="*/ 9525 w 371475"/>
                <a:gd name="connsiteY2" fmla="*/ 0 h 723900"/>
                <a:gd name="connsiteX3" fmla="*/ 0 w 371475"/>
                <a:gd name="connsiteY3" fmla="*/ 9525 h 723900"/>
                <a:gd name="connsiteX4" fmla="*/ 0 w 371475"/>
                <a:gd name="connsiteY4" fmla="*/ 714375 h 723900"/>
                <a:gd name="connsiteX5" fmla="*/ 9525 w 371475"/>
                <a:gd name="connsiteY5" fmla="*/ 723900 h 723900"/>
                <a:gd name="connsiteX6" fmla="*/ 19050 w 371475"/>
                <a:gd name="connsiteY6" fmla="*/ 19183 h 723900"/>
                <a:gd name="connsiteX7" fmla="*/ 352255 w 371475"/>
                <a:gd name="connsiteY7" fmla="*/ 371512 h 723900"/>
                <a:gd name="connsiteX8" fmla="*/ 19050 w 371475"/>
                <a:gd name="connsiteY8" fmla="*/ 704717 h 723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1475" h="723900">
                  <a:moveTo>
                    <a:pt x="9525" y="723900"/>
                  </a:moveTo>
                  <a:cubicBezTo>
                    <a:pt x="209424" y="723900"/>
                    <a:pt x="371475" y="561849"/>
                    <a:pt x="371475" y="361950"/>
                  </a:cubicBezTo>
                  <a:cubicBezTo>
                    <a:pt x="371475" y="162051"/>
                    <a:pt x="209424" y="0"/>
                    <a:pt x="9525" y="0"/>
                  </a:cubicBezTo>
                  <a:cubicBezTo>
                    <a:pt x="4264" y="0"/>
                    <a:pt x="0" y="4264"/>
                    <a:pt x="0" y="9525"/>
                  </a:cubicBezTo>
                  <a:lnTo>
                    <a:pt x="0" y="714375"/>
                  </a:lnTo>
                  <a:cubicBezTo>
                    <a:pt x="0" y="719636"/>
                    <a:pt x="4264" y="723900"/>
                    <a:pt x="9525" y="723900"/>
                  </a:cubicBezTo>
                  <a:close/>
                  <a:moveTo>
                    <a:pt x="19050" y="19183"/>
                  </a:moveTo>
                  <a:cubicBezTo>
                    <a:pt x="208355" y="24464"/>
                    <a:pt x="357535" y="182208"/>
                    <a:pt x="352255" y="371512"/>
                  </a:cubicBezTo>
                  <a:cubicBezTo>
                    <a:pt x="347181" y="553393"/>
                    <a:pt x="200931" y="699643"/>
                    <a:pt x="19050" y="704717"/>
                  </a:cubicBezTo>
                  <a:close/>
                </a:path>
              </a:pathLst>
            </a:custGeom>
            <a:solidFill>
              <a:schemeClr val="bg1"/>
            </a:solidFill>
            <a:ln w="38100" cap="flat">
              <a:solidFill>
                <a:srgbClr val="00BFB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grpSp>
        <p:nvGrpSpPr>
          <p:cNvPr id="45" name="Group 44">
            <a:extLst>
              <a:ext uri="{FF2B5EF4-FFF2-40B4-BE49-F238E27FC236}">
                <a16:creationId xmlns:a16="http://schemas.microsoft.com/office/drawing/2014/main" id="{EC797EAA-0D73-308A-B388-4330DE923265}"/>
              </a:ext>
            </a:extLst>
          </p:cNvPr>
          <p:cNvGrpSpPr/>
          <p:nvPr/>
        </p:nvGrpSpPr>
        <p:grpSpPr>
          <a:xfrm>
            <a:off x="9397879" y="1394057"/>
            <a:ext cx="1685925" cy="914400"/>
            <a:chOff x="9666660" y="1394337"/>
            <a:chExt cx="1685925" cy="914400"/>
          </a:xfrm>
        </p:grpSpPr>
        <p:pic>
          <p:nvPicPr>
            <p:cNvPr id="46" name="Graphic 45" descr="Exponential Graph with solid fill">
              <a:extLst>
                <a:ext uri="{FF2B5EF4-FFF2-40B4-BE49-F238E27FC236}">
                  <a16:creationId xmlns:a16="http://schemas.microsoft.com/office/drawing/2014/main" id="{1C99AC0C-6621-F837-3FFB-5D25D75ACC22}"/>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438185" y="1394337"/>
              <a:ext cx="914400" cy="914400"/>
            </a:xfrm>
            <a:prstGeom prst="rect">
              <a:avLst/>
            </a:prstGeom>
          </p:spPr>
        </p:pic>
        <p:sp>
          <p:nvSpPr>
            <p:cNvPr id="47" name="Freeform: Shape 46">
              <a:extLst>
                <a:ext uri="{FF2B5EF4-FFF2-40B4-BE49-F238E27FC236}">
                  <a16:creationId xmlns:a16="http://schemas.microsoft.com/office/drawing/2014/main" id="{1E0303E3-9949-A0F4-4E10-599A443274C2}"/>
                </a:ext>
              </a:extLst>
            </p:cNvPr>
            <p:cNvSpPr/>
            <p:nvPr/>
          </p:nvSpPr>
          <p:spPr>
            <a:xfrm>
              <a:off x="9695235" y="1626470"/>
              <a:ext cx="179832" cy="290512"/>
            </a:xfrm>
            <a:custGeom>
              <a:avLst/>
              <a:gdLst>
                <a:gd name="connsiteX0" fmla="*/ 38957 w 179832"/>
                <a:gd name="connsiteY0" fmla="*/ 281464 h 290512"/>
                <a:gd name="connsiteX1" fmla="*/ 38100 w 179832"/>
                <a:gd name="connsiteY1" fmla="*/ 261938 h 290512"/>
                <a:gd name="connsiteX2" fmla="*/ 179832 w 179832"/>
                <a:gd name="connsiteY2" fmla="*/ 38100 h 290512"/>
                <a:gd name="connsiteX3" fmla="*/ 171736 w 179832"/>
                <a:gd name="connsiteY3" fmla="*/ 0 h 290512"/>
                <a:gd name="connsiteX4" fmla="*/ 0 w 179832"/>
                <a:gd name="connsiteY4" fmla="*/ 261938 h 290512"/>
                <a:gd name="connsiteX5" fmla="*/ 1429 w 179832"/>
                <a:gd name="connsiteY5" fmla="*/ 290513 h 290512"/>
                <a:gd name="connsiteX6" fmla="*/ 38957 w 179832"/>
                <a:gd name="connsiteY6" fmla="*/ 281464 h 290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832" h="290512">
                  <a:moveTo>
                    <a:pt x="38957" y="281464"/>
                  </a:moveTo>
                  <a:cubicBezTo>
                    <a:pt x="38100" y="274987"/>
                    <a:pt x="38100" y="268510"/>
                    <a:pt x="38100" y="261938"/>
                  </a:cubicBezTo>
                  <a:cubicBezTo>
                    <a:pt x="38108" y="166202"/>
                    <a:pt x="93295" y="79045"/>
                    <a:pt x="179832" y="38100"/>
                  </a:cubicBezTo>
                  <a:cubicBezTo>
                    <a:pt x="174938" y="25967"/>
                    <a:pt x="172199" y="13074"/>
                    <a:pt x="171736" y="0"/>
                  </a:cubicBezTo>
                  <a:cubicBezTo>
                    <a:pt x="67474" y="45368"/>
                    <a:pt x="32" y="148234"/>
                    <a:pt x="0" y="261938"/>
                  </a:cubicBezTo>
                  <a:cubicBezTo>
                    <a:pt x="0" y="271653"/>
                    <a:pt x="476" y="281178"/>
                    <a:pt x="1429" y="290513"/>
                  </a:cubicBezTo>
                  <a:cubicBezTo>
                    <a:pt x="13325" y="285359"/>
                    <a:pt x="26020" y="282299"/>
                    <a:pt x="38957" y="281464"/>
                  </a:cubicBezTo>
                  <a:close/>
                </a:path>
              </a:pathLst>
            </a:custGeom>
            <a:solidFill>
              <a:srgbClr val="00BFBF"/>
            </a:solidFill>
            <a:ln w="19050" cap="flat">
              <a:solidFill>
                <a:srgbClr val="00BFB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48" name="Freeform: Shape 47">
              <a:extLst>
                <a:ext uri="{FF2B5EF4-FFF2-40B4-BE49-F238E27FC236}">
                  <a16:creationId xmlns:a16="http://schemas.microsoft.com/office/drawing/2014/main" id="{6FB1D781-A70F-2B37-A305-9329215470C1}"/>
                </a:ext>
              </a:extLst>
            </p:cNvPr>
            <p:cNvSpPr/>
            <p:nvPr/>
          </p:nvSpPr>
          <p:spPr>
            <a:xfrm>
              <a:off x="10087188" y="1626470"/>
              <a:ext cx="179546" cy="290512"/>
            </a:xfrm>
            <a:custGeom>
              <a:avLst/>
              <a:gdLst>
                <a:gd name="connsiteX0" fmla="*/ 141446 w 179546"/>
                <a:gd name="connsiteY0" fmla="*/ 261938 h 290512"/>
                <a:gd name="connsiteX1" fmla="*/ 140589 w 179546"/>
                <a:gd name="connsiteY1" fmla="*/ 280988 h 290512"/>
                <a:gd name="connsiteX2" fmla="*/ 178117 w 179546"/>
                <a:gd name="connsiteY2" fmla="*/ 290513 h 290512"/>
                <a:gd name="connsiteX3" fmla="*/ 179546 w 179546"/>
                <a:gd name="connsiteY3" fmla="*/ 261938 h 290512"/>
                <a:gd name="connsiteX4" fmla="*/ 8096 w 179546"/>
                <a:gd name="connsiteY4" fmla="*/ 0 h 290512"/>
                <a:gd name="connsiteX5" fmla="*/ 0 w 179546"/>
                <a:gd name="connsiteY5" fmla="*/ 38100 h 290512"/>
                <a:gd name="connsiteX6" fmla="*/ 141446 w 179546"/>
                <a:gd name="connsiteY6" fmla="*/ 261938 h 290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546" h="290512">
                  <a:moveTo>
                    <a:pt x="141446" y="261938"/>
                  </a:moveTo>
                  <a:cubicBezTo>
                    <a:pt x="141446" y="268510"/>
                    <a:pt x="141446" y="274987"/>
                    <a:pt x="140589" y="280988"/>
                  </a:cubicBezTo>
                  <a:cubicBezTo>
                    <a:pt x="153554" y="281973"/>
                    <a:pt x="166251" y="285196"/>
                    <a:pt x="178117" y="290513"/>
                  </a:cubicBezTo>
                  <a:cubicBezTo>
                    <a:pt x="179070" y="280988"/>
                    <a:pt x="179546" y="271463"/>
                    <a:pt x="179546" y="261938"/>
                  </a:cubicBezTo>
                  <a:cubicBezTo>
                    <a:pt x="179563" y="148301"/>
                    <a:pt x="112245" y="45454"/>
                    <a:pt x="8096" y="0"/>
                  </a:cubicBezTo>
                  <a:cubicBezTo>
                    <a:pt x="7633" y="13074"/>
                    <a:pt x="4894" y="25967"/>
                    <a:pt x="0" y="38100"/>
                  </a:cubicBezTo>
                  <a:cubicBezTo>
                    <a:pt x="86426" y="79128"/>
                    <a:pt x="141491" y="166267"/>
                    <a:pt x="141446" y="261938"/>
                  </a:cubicBezTo>
                  <a:close/>
                </a:path>
              </a:pathLst>
            </a:custGeom>
            <a:solidFill>
              <a:srgbClr val="00BFBF"/>
            </a:solidFill>
            <a:ln w="19050" cap="flat">
              <a:solidFill>
                <a:srgbClr val="00BFB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49" name="Freeform: Shape 48">
              <a:extLst>
                <a:ext uri="{FF2B5EF4-FFF2-40B4-BE49-F238E27FC236}">
                  <a16:creationId xmlns:a16="http://schemas.microsoft.com/office/drawing/2014/main" id="{F3BFC119-0573-7146-95D7-55F4FEA75FF4}"/>
                </a:ext>
              </a:extLst>
            </p:cNvPr>
            <p:cNvSpPr/>
            <p:nvPr/>
          </p:nvSpPr>
          <p:spPr>
            <a:xfrm>
              <a:off x="9807915" y="2088433"/>
              <a:ext cx="346138" cy="85620"/>
            </a:xfrm>
            <a:custGeom>
              <a:avLst/>
              <a:gdLst>
                <a:gd name="connsiteX0" fmla="*/ 318611 w 346138"/>
                <a:gd name="connsiteY0" fmla="*/ 0 h 85620"/>
                <a:gd name="connsiteX1" fmla="*/ 27527 w 346138"/>
                <a:gd name="connsiteY1" fmla="*/ 0 h 85620"/>
                <a:gd name="connsiteX2" fmla="*/ 0 w 346138"/>
                <a:gd name="connsiteY2" fmla="*/ 27051 h 85620"/>
                <a:gd name="connsiteX3" fmla="*/ 346138 w 346138"/>
                <a:gd name="connsiteY3" fmla="*/ 27051 h 85620"/>
                <a:gd name="connsiteX4" fmla="*/ 318611 w 346138"/>
                <a:gd name="connsiteY4" fmla="*/ 0 h 85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6138" h="85620">
                  <a:moveTo>
                    <a:pt x="318611" y="0"/>
                  </a:moveTo>
                  <a:cubicBezTo>
                    <a:pt x="231931" y="63372"/>
                    <a:pt x="114208" y="63372"/>
                    <a:pt x="27527" y="0"/>
                  </a:cubicBezTo>
                  <a:cubicBezTo>
                    <a:pt x="19951" y="10512"/>
                    <a:pt x="10642" y="19660"/>
                    <a:pt x="0" y="27051"/>
                  </a:cubicBezTo>
                  <a:cubicBezTo>
                    <a:pt x="102165" y="105144"/>
                    <a:pt x="243973" y="105144"/>
                    <a:pt x="346138" y="27051"/>
                  </a:cubicBezTo>
                  <a:cubicBezTo>
                    <a:pt x="335496" y="19660"/>
                    <a:pt x="326187" y="10512"/>
                    <a:pt x="318611" y="0"/>
                  </a:cubicBezTo>
                  <a:close/>
                </a:path>
              </a:pathLst>
            </a:custGeom>
            <a:solidFill>
              <a:srgbClr val="00BFBF"/>
            </a:solidFill>
            <a:ln w="19050" cap="flat">
              <a:solidFill>
                <a:srgbClr val="00BFB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50" name="Freeform: Shape 49">
              <a:extLst>
                <a:ext uri="{FF2B5EF4-FFF2-40B4-BE49-F238E27FC236}">
                  <a16:creationId xmlns:a16="http://schemas.microsoft.com/office/drawing/2014/main" id="{0845383E-58CC-5AD9-6115-B883596C521F}"/>
                </a:ext>
              </a:extLst>
            </p:cNvPr>
            <p:cNvSpPr/>
            <p:nvPr/>
          </p:nvSpPr>
          <p:spPr>
            <a:xfrm>
              <a:off x="9904785" y="1545508"/>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rgbClr val="00BFB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51" name="Freeform: Shape 50">
              <a:extLst>
                <a:ext uri="{FF2B5EF4-FFF2-40B4-BE49-F238E27FC236}">
                  <a16:creationId xmlns:a16="http://schemas.microsoft.com/office/drawing/2014/main" id="{94C53907-8F90-2418-99E5-2E43A28EFA6C}"/>
                </a:ext>
              </a:extLst>
            </p:cNvPr>
            <p:cNvSpPr/>
            <p:nvPr/>
          </p:nvSpPr>
          <p:spPr>
            <a:xfrm>
              <a:off x="10142910" y="1945558"/>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rgbClr val="00BFB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52" name="Freeform: Shape 51">
              <a:extLst>
                <a:ext uri="{FF2B5EF4-FFF2-40B4-BE49-F238E27FC236}">
                  <a16:creationId xmlns:a16="http://schemas.microsoft.com/office/drawing/2014/main" id="{6F2487B5-B87F-3FC0-D7CB-A9B82E35648C}"/>
                </a:ext>
              </a:extLst>
            </p:cNvPr>
            <p:cNvSpPr/>
            <p:nvPr/>
          </p:nvSpPr>
          <p:spPr>
            <a:xfrm>
              <a:off x="9666660" y="1945558"/>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rgbClr val="00BFB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pic>
        <p:nvPicPr>
          <p:cNvPr id="2" name="Graphic 1">
            <a:extLst>
              <a:ext uri="{FF2B5EF4-FFF2-40B4-BE49-F238E27FC236}">
                <a16:creationId xmlns:a16="http://schemas.microsoft.com/office/drawing/2014/main" id="{2C0C2C40-1159-D50B-B717-D5A28D3ECFF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010384" y="1489307"/>
            <a:ext cx="620485" cy="723900"/>
          </a:xfrm>
          <a:prstGeom prst="rect">
            <a:avLst/>
          </a:prstGeom>
        </p:spPr>
      </p:pic>
      <p:sp>
        <p:nvSpPr>
          <p:cNvPr id="3" name="Rectangle 2">
            <a:extLst>
              <a:ext uri="{FF2B5EF4-FFF2-40B4-BE49-F238E27FC236}">
                <a16:creationId xmlns:a16="http://schemas.microsoft.com/office/drawing/2014/main" id="{3FB2342D-78BF-D16B-F3CE-10C9F7EE495A}"/>
              </a:ext>
            </a:extLst>
          </p:cNvPr>
          <p:cNvSpPr/>
          <p:nvPr/>
        </p:nvSpPr>
        <p:spPr>
          <a:xfrm>
            <a:off x="299336" y="5648096"/>
            <a:ext cx="11155680" cy="707886"/>
          </a:xfrm>
          <a:prstGeom prst="rect">
            <a:avLst/>
          </a:prstGeom>
          <a:noFill/>
        </p:spPr>
        <p:txBody>
          <a:bodyPr wrap="square">
            <a:spAutoFit/>
          </a:bodyPr>
          <a:lstStyle/>
          <a:p>
            <a:pPr marL="0" marR="0" lvl="1" indent="0" algn="ctr" defTabSz="914342" rtl="0" eaLnBrk="1" fontAlgn="auto" latinLnBrk="0" hangingPunct="1">
              <a:lnSpc>
                <a:spcPct val="100000"/>
              </a:lnSpc>
              <a:spcBef>
                <a:spcPts val="200"/>
              </a:spcBef>
              <a:spcAft>
                <a:spcPts val="400"/>
              </a:spcAft>
              <a:buClrTx/>
              <a:buSzTx/>
              <a:buFontTx/>
              <a:buNone/>
              <a:tabLst/>
              <a:defRPr/>
            </a:pPr>
            <a:r>
              <a:rPr kumimoji="0" lang="en-US" sz="2000" b="0" i="0" u="none" strike="noStrike" kern="1200" cap="none" spc="0" normalizeH="0" baseline="0" noProof="0">
                <a:ln>
                  <a:noFill/>
                </a:ln>
                <a:solidFill>
                  <a:srgbClr val="00BFBF"/>
                </a:solidFill>
                <a:effectLst/>
                <a:uLnTx/>
                <a:uFillTx/>
                <a:latin typeface="Ubuntu"/>
                <a:ea typeface="+mn-ea"/>
                <a:cs typeface="+mn-cs"/>
              </a:rPr>
              <a:t>We have helped our clients deliver </a:t>
            </a:r>
            <a:r>
              <a:rPr kumimoji="0" lang="en-US" sz="2000" b="1" i="0" u="none" strike="noStrike" kern="1200" cap="none" spc="0" normalizeH="0" baseline="0" noProof="0">
                <a:ln>
                  <a:noFill/>
                </a:ln>
                <a:solidFill>
                  <a:srgbClr val="00BFBF"/>
                </a:solidFill>
                <a:effectLst/>
                <a:uLnTx/>
                <a:uFillTx/>
                <a:latin typeface="Ubuntu"/>
                <a:ea typeface="+mn-ea"/>
                <a:cs typeface="+mn-cs"/>
              </a:rPr>
              <a:t>Innovative hyper-personalized products and services with modern business models and technology </a:t>
            </a:r>
            <a:r>
              <a:rPr kumimoji="0" lang="en-US" sz="2000" b="0" i="0" u="none" strike="noStrike" kern="1200" cap="none" spc="0" normalizeH="0" baseline="0" noProof="0">
                <a:ln>
                  <a:noFill/>
                </a:ln>
                <a:solidFill>
                  <a:srgbClr val="00BFBF"/>
                </a:solidFill>
                <a:effectLst/>
                <a:uLnTx/>
                <a:uFillTx/>
                <a:latin typeface="Ubuntu"/>
                <a:ea typeface="+mn-ea"/>
                <a:cs typeface="+mn-cs"/>
              </a:rPr>
              <a:t>using data and analytics </a:t>
            </a:r>
          </a:p>
        </p:txBody>
      </p:sp>
    </p:spTree>
    <p:extLst>
      <p:ext uri="{BB962C8B-B14F-4D97-AF65-F5344CB8AC3E}">
        <p14:creationId xmlns:p14="http://schemas.microsoft.com/office/powerpoint/2010/main" val="96361603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39CBDC78-6172-4BF9-A53A-DF6E8BC08B7D}"/>
              </a:ext>
            </a:extLst>
          </p:cNvPr>
          <p:cNvSpPr/>
          <p:nvPr/>
        </p:nvSpPr>
        <p:spPr>
          <a:xfrm>
            <a:off x="411330" y="1483886"/>
            <a:ext cx="5766483" cy="5216813"/>
          </a:xfrm>
          <a:prstGeom prst="rect">
            <a:avLst/>
          </a:prstGeom>
        </p:spPr>
        <p:txBody>
          <a:bodyPr wrap="square">
            <a:spAutoFit/>
          </a:bodyPr>
          <a:lstStyle/>
          <a:p>
            <a:pPr marL="0" marR="0" lvl="2" indent="0" algn="l" defTabSz="843808" rtl="0" eaLnBrk="1" fontAlgn="base" latinLnBrk="0" hangingPunct="1">
              <a:lnSpc>
                <a:spcPct val="100000"/>
              </a:lnSpc>
              <a:spcBef>
                <a:spcPts val="600"/>
              </a:spcBef>
              <a:spcAft>
                <a:spcPts val="0"/>
              </a:spcAft>
              <a:buClr>
                <a:srgbClr val="0098C7"/>
              </a:buClr>
              <a:buSzTx/>
              <a:buFontTx/>
              <a:buNone/>
              <a:tabLst/>
              <a:defRPr/>
            </a:pPr>
            <a:r>
              <a:rPr kumimoji="0" lang="en-US" sz="1300" b="0" i="0" u="none" strike="noStrike" kern="1200" cap="none" spc="0" normalizeH="0" baseline="0" noProof="0">
                <a:ln>
                  <a:noFill/>
                </a:ln>
                <a:solidFill>
                  <a:prstClr val="black"/>
                </a:solidFill>
                <a:effectLst/>
                <a:uLnTx/>
                <a:uFillTx/>
                <a:latin typeface="Ubuntu"/>
                <a:ea typeface="+mn-ea"/>
                <a:cs typeface="+mn-cs"/>
              </a:rPr>
              <a:t>Current policy system  of the client does not support company vision of digital transformation. They were looking for a partner to accelerate delivery timelines after releasing two personal products in a single province in two years span </a:t>
            </a:r>
          </a:p>
          <a:p>
            <a:pPr marL="0" marR="0" lvl="1" indent="0" algn="l" defTabSz="957732" rtl="0" eaLnBrk="1" fontAlgn="auto" latinLnBrk="0" hangingPunct="1">
              <a:lnSpc>
                <a:spcPct val="100000"/>
              </a:lnSpc>
              <a:spcBef>
                <a:spcPts val="0"/>
              </a:spcBef>
              <a:spcAft>
                <a:spcPts val="0"/>
              </a:spcAft>
              <a:buClr>
                <a:srgbClr val="0070AD"/>
              </a:buClr>
              <a:buSzTx/>
              <a:buFontTx/>
              <a:buNone/>
              <a:tabLst/>
              <a:defRPr/>
            </a:pPr>
            <a:endParaRPr kumimoji="0" lang="en-GB" sz="500" b="0" i="0" u="none" strike="noStrike" kern="1200" cap="none" spc="0" normalizeH="0" baseline="0" noProof="0">
              <a:ln>
                <a:noFill/>
              </a:ln>
              <a:solidFill>
                <a:srgbClr val="FFFFFF"/>
              </a:solidFill>
              <a:effectLst/>
              <a:uLnTx/>
              <a:uFillTx/>
              <a:latin typeface="Ubuntu"/>
              <a:ea typeface="+mn-ea"/>
              <a:cs typeface="+mn-cs"/>
            </a:endParaRPr>
          </a:p>
          <a:p>
            <a:pPr marL="0" marR="0" lvl="2" indent="0" algn="l" defTabSz="843808" rtl="0" eaLnBrk="1" fontAlgn="base" latinLnBrk="0" hangingPunct="1">
              <a:lnSpc>
                <a:spcPct val="100000"/>
              </a:lnSpc>
              <a:spcBef>
                <a:spcPts val="300"/>
              </a:spcBef>
              <a:spcAft>
                <a:spcPts val="0"/>
              </a:spcAft>
              <a:buClr>
                <a:srgbClr val="0098C7"/>
              </a:buClr>
              <a:buSzTx/>
              <a:buFontTx/>
              <a:buNone/>
              <a:tabLst/>
              <a:defRPr/>
            </a:pPr>
            <a:endParaRPr kumimoji="0" lang="en-IN" sz="2000" b="0" i="0" u="none" strike="noStrike" kern="1200" cap="none" spc="0" normalizeH="0" baseline="0" noProof="0">
              <a:ln>
                <a:noFill/>
              </a:ln>
              <a:solidFill>
                <a:prstClr val="black"/>
              </a:solidFill>
              <a:effectLst/>
              <a:uLnTx/>
              <a:uFillTx/>
              <a:latin typeface="Ubuntu"/>
              <a:ea typeface="+mn-ea"/>
              <a:cs typeface="+mn-cs"/>
            </a:endParaRPr>
          </a:p>
          <a:p>
            <a:pPr marL="155335" marR="0" lvl="2" indent="-155335" algn="l" defTabSz="843808" rtl="0" eaLnBrk="1" fontAlgn="base" latinLnBrk="0" hangingPunct="1">
              <a:lnSpc>
                <a:spcPct val="100000"/>
              </a:lnSpc>
              <a:spcBef>
                <a:spcPts val="300"/>
              </a:spcBef>
              <a:spcAft>
                <a:spcPts val="0"/>
              </a:spcAft>
              <a:buClr>
                <a:srgbClr val="0098C7"/>
              </a:buClr>
              <a:buSzTx/>
              <a:buFont typeface="Wingdings" pitchFamily="2" charset="2"/>
              <a:buChar char="§"/>
              <a:tabLst/>
              <a:defRPr/>
            </a:pPr>
            <a:r>
              <a:rPr kumimoji="0" lang="en-IN" sz="1300" b="0" i="0" u="none" strike="noStrike" kern="1200" cap="none" spc="0" normalizeH="0" baseline="0" noProof="0">
                <a:ln>
                  <a:noFill/>
                </a:ln>
                <a:solidFill>
                  <a:prstClr val="black"/>
                </a:solidFill>
                <a:effectLst/>
                <a:uLnTx/>
                <a:uFillTx/>
                <a:latin typeface="Ubuntu"/>
                <a:ea typeface="+mn-ea"/>
                <a:cs typeface="+mn-cs"/>
              </a:rPr>
              <a:t>Within a 3-month timeframe leveraging lateral hiring and training, we successfully stood up Innoveo CoE with a 20-member team consisting of Architects, BA’s and Developers spread across India and US.</a:t>
            </a:r>
          </a:p>
          <a:p>
            <a:pPr marL="155335" marR="0" lvl="2" indent="-155335" algn="l" defTabSz="843808" rtl="0" eaLnBrk="1" fontAlgn="base" latinLnBrk="0" hangingPunct="1">
              <a:lnSpc>
                <a:spcPct val="100000"/>
              </a:lnSpc>
              <a:spcBef>
                <a:spcPts val="300"/>
              </a:spcBef>
              <a:spcAft>
                <a:spcPts val="0"/>
              </a:spcAft>
              <a:buClr>
                <a:srgbClr val="0098C7"/>
              </a:buClr>
              <a:buSzTx/>
              <a:buFont typeface="Wingdings" pitchFamily="2" charset="2"/>
              <a:buChar char="§"/>
              <a:tabLst/>
              <a:defRPr/>
            </a:pPr>
            <a:r>
              <a:rPr kumimoji="0" lang="en-IN" sz="1300" b="0" i="0" u="none" strike="noStrike" kern="1200" cap="none" spc="0" normalizeH="0" baseline="0" noProof="0">
                <a:ln>
                  <a:noFill/>
                </a:ln>
                <a:solidFill>
                  <a:prstClr val="black"/>
                </a:solidFill>
                <a:effectLst/>
                <a:uLnTx/>
                <a:uFillTx/>
                <a:latin typeface="Ubuntu"/>
                <a:ea typeface="+mn-ea"/>
                <a:cs typeface="+mn-cs"/>
              </a:rPr>
              <a:t>Capgemini embedded Innoveo certified resources across different workstreams and positioned the team on end-to-end solutioning to make an immediate impact on the program and released first rollout in 4 months</a:t>
            </a:r>
          </a:p>
          <a:p>
            <a:pPr marL="155335" marR="0" lvl="2" indent="-155335" algn="l" defTabSz="843808" rtl="0" eaLnBrk="1" fontAlgn="base" latinLnBrk="0" hangingPunct="1">
              <a:lnSpc>
                <a:spcPct val="100000"/>
              </a:lnSpc>
              <a:spcBef>
                <a:spcPts val="300"/>
              </a:spcBef>
              <a:spcAft>
                <a:spcPts val="0"/>
              </a:spcAft>
              <a:buClr>
                <a:srgbClr val="0098C7"/>
              </a:buClr>
              <a:buSzTx/>
              <a:buFont typeface="Wingdings" pitchFamily="2" charset="2"/>
              <a:buChar char="§"/>
              <a:tabLst/>
              <a:defRPr/>
            </a:pPr>
            <a:r>
              <a:rPr kumimoji="0" lang="en-AU" sz="1300" b="0" i="0" u="none" strike="noStrike" kern="1200" cap="none" spc="0" normalizeH="0" baseline="0" noProof="0">
                <a:ln>
                  <a:noFill/>
                </a:ln>
                <a:solidFill>
                  <a:prstClr val="black"/>
                </a:solidFill>
                <a:effectLst/>
                <a:uLnTx/>
                <a:uFillTx/>
                <a:latin typeface="Ubuntu"/>
                <a:ea typeface="+mn-ea"/>
                <a:cs typeface="+mn-cs"/>
              </a:rPr>
              <a:t>We were able to leverage Capgemini’s accelerators on Innoveo, past experiences and resource in delivering large, complex core insurance transformation programs</a:t>
            </a:r>
          </a:p>
          <a:p>
            <a:pPr marL="0" marR="0" lvl="2" indent="0" algn="l" defTabSz="843808" rtl="0" eaLnBrk="1" fontAlgn="base" latinLnBrk="0" hangingPunct="1">
              <a:lnSpc>
                <a:spcPct val="100000"/>
              </a:lnSpc>
              <a:spcBef>
                <a:spcPts val="300"/>
              </a:spcBef>
              <a:spcAft>
                <a:spcPts val="0"/>
              </a:spcAft>
              <a:buClr>
                <a:srgbClr val="0098C7"/>
              </a:buClr>
              <a:buSzTx/>
              <a:buFontTx/>
              <a:buNone/>
              <a:tabLst/>
              <a:defRPr/>
            </a:pPr>
            <a:endParaRPr kumimoji="0" lang="en-US" sz="500" b="1" i="0" u="none" strike="noStrike" kern="1200" cap="none" spc="0" normalizeH="0" baseline="0" noProof="0">
              <a:ln>
                <a:noFill/>
              </a:ln>
              <a:solidFill>
                <a:srgbClr val="FFFFFF"/>
              </a:solidFill>
              <a:effectLst/>
              <a:uLnTx/>
              <a:uFillTx/>
              <a:latin typeface="Ubuntu"/>
              <a:ea typeface="+mn-ea"/>
              <a:cs typeface="+mn-cs"/>
            </a:endParaRPr>
          </a:p>
          <a:p>
            <a:pPr marL="0" marR="0" lvl="2" indent="0" algn="l" defTabSz="843808" rtl="0" eaLnBrk="1" fontAlgn="base" latinLnBrk="0" hangingPunct="1">
              <a:lnSpc>
                <a:spcPct val="100000"/>
              </a:lnSpc>
              <a:spcBef>
                <a:spcPts val="300"/>
              </a:spcBef>
              <a:spcAft>
                <a:spcPts val="0"/>
              </a:spcAft>
              <a:buClr>
                <a:srgbClr val="0098C7"/>
              </a:buClr>
              <a:buSzTx/>
              <a:buFontTx/>
              <a:buNone/>
              <a:tabLst/>
              <a:defRPr/>
            </a:pPr>
            <a:endParaRPr kumimoji="0" lang="en-US" sz="500" b="1" i="0" u="none" strike="noStrike" kern="1200" cap="none" spc="0" normalizeH="0" baseline="0" noProof="0">
              <a:ln>
                <a:noFill/>
              </a:ln>
              <a:solidFill>
                <a:srgbClr val="FFFFFF"/>
              </a:solidFill>
              <a:effectLst/>
              <a:uLnTx/>
              <a:uFillTx/>
              <a:latin typeface="Ubuntu"/>
              <a:ea typeface="+mn-ea"/>
              <a:cs typeface="+mn-cs"/>
            </a:endParaRPr>
          </a:p>
          <a:p>
            <a:pPr marL="0" marR="0" lvl="2" indent="0" algn="l" defTabSz="843808" rtl="0" eaLnBrk="1" fontAlgn="base" latinLnBrk="0" hangingPunct="1">
              <a:lnSpc>
                <a:spcPct val="100000"/>
              </a:lnSpc>
              <a:spcBef>
                <a:spcPts val="300"/>
              </a:spcBef>
              <a:spcAft>
                <a:spcPts val="0"/>
              </a:spcAft>
              <a:buClr>
                <a:srgbClr val="0098C7"/>
              </a:buClr>
              <a:buSzTx/>
              <a:buFontTx/>
              <a:buNone/>
              <a:tabLst/>
              <a:defRPr/>
            </a:pPr>
            <a:endParaRPr kumimoji="0" lang="en-US" sz="900" b="1" i="0" u="none" strike="noStrike" kern="1200" cap="none" spc="0" normalizeH="0" baseline="0" noProof="0">
              <a:ln>
                <a:noFill/>
              </a:ln>
              <a:solidFill>
                <a:srgbClr val="FFFFFF"/>
              </a:solidFill>
              <a:effectLst/>
              <a:uLnTx/>
              <a:uFillTx/>
              <a:latin typeface="Ubuntu"/>
              <a:ea typeface="+mn-ea"/>
              <a:cs typeface="+mn-cs"/>
            </a:endParaRPr>
          </a:p>
          <a:p>
            <a:pPr marL="0" marR="0" lvl="2" indent="0" algn="l" defTabSz="843808" rtl="0" eaLnBrk="1" fontAlgn="base" latinLnBrk="0" hangingPunct="1">
              <a:lnSpc>
                <a:spcPct val="100000"/>
              </a:lnSpc>
              <a:spcBef>
                <a:spcPts val="300"/>
              </a:spcBef>
              <a:spcAft>
                <a:spcPts val="0"/>
              </a:spcAft>
              <a:buClr>
                <a:srgbClr val="0098C7"/>
              </a:buClr>
              <a:buSzTx/>
              <a:buFontTx/>
              <a:buNone/>
              <a:tabLst/>
              <a:defRPr/>
            </a:pPr>
            <a:endParaRPr kumimoji="0" lang="en-US" sz="500" b="1" i="0" u="none" strike="noStrike" kern="1200" cap="none" spc="0" normalizeH="0" baseline="0" noProof="0">
              <a:ln>
                <a:noFill/>
              </a:ln>
              <a:solidFill>
                <a:srgbClr val="FFFFFF"/>
              </a:solidFill>
              <a:effectLst/>
              <a:uLnTx/>
              <a:uFillTx/>
              <a:latin typeface="Ubuntu"/>
              <a:ea typeface="+mn-ea"/>
              <a:cs typeface="+mn-cs"/>
            </a:endParaRPr>
          </a:p>
          <a:p>
            <a:pPr marL="155335" marR="0" lvl="2" indent="-155335" algn="just" defTabSz="843808" rtl="0" eaLnBrk="1" fontAlgn="base" latinLnBrk="0" hangingPunct="1">
              <a:lnSpc>
                <a:spcPct val="100000"/>
              </a:lnSpc>
              <a:spcBef>
                <a:spcPts val="0"/>
              </a:spcBef>
              <a:spcAft>
                <a:spcPts val="0"/>
              </a:spcAft>
              <a:buClr>
                <a:srgbClr val="0098C7"/>
              </a:buClr>
              <a:buSzTx/>
              <a:buFont typeface="Wingdings" pitchFamily="2" charset="2"/>
              <a:buChar char="§"/>
              <a:tabLst/>
              <a:defRPr/>
            </a:pPr>
            <a:r>
              <a:rPr kumimoji="0" lang="en-IN" sz="1300" b="0" i="0" u="none" strike="noStrike" kern="1200" cap="none" spc="0" normalizeH="0" baseline="0" noProof="0">
                <a:ln>
                  <a:noFill/>
                </a:ln>
                <a:solidFill>
                  <a:prstClr val="black"/>
                </a:solidFill>
                <a:effectLst/>
                <a:uLnTx/>
                <a:uFillTx/>
                <a:latin typeface="Ubuntu"/>
                <a:ea typeface="+mn-ea"/>
                <a:cs typeface="+mn-cs"/>
              </a:rPr>
              <a:t>Built an Innoveo CoE within 2 months and scaled to team of 20 certified associates with First product rollout in 4 months (Dec'22 release)</a:t>
            </a:r>
          </a:p>
          <a:p>
            <a:pPr marL="155335" marR="0" lvl="2" indent="-155335" algn="l" defTabSz="843808" rtl="0" eaLnBrk="1" fontAlgn="base" latinLnBrk="0" hangingPunct="1">
              <a:lnSpc>
                <a:spcPct val="100000"/>
              </a:lnSpc>
              <a:spcBef>
                <a:spcPts val="0"/>
              </a:spcBef>
              <a:spcAft>
                <a:spcPts val="0"/>
              </a:spcAft>
              <a:buClr>
                <a:srgbClr val="0098C7"/>
              </a:buClr>
              <a:buSzTx/>
              <a:buFont typeface="Wingdings" pitchFamily="2" charset="2"/>
              <a:buChar char="§"/>
              <a:tabLst/>
              <a:defRPr/>
            </a:pPr>
            <a:r>
              <a:rPr kumimoji="0" lang="en-IN" sz="1300" b="0" i="0" u="none" strike="noStrike" kern="1200" cap="none" spc="0" normalizeH="0" baseline="0" noProof="0">
                <a:ln>
                  <a:noFill/>
                </a:ln>
                <a:solidFill>
                  <a:prstClr val="black"/>
                </a:solidFill>
                <a:effectLst/>
                <a:uLnTx/>
                <a:uFillTx/>
                <a:latin typeface="Ubuntu"/>
                <a:ea typeface="+mn-ea"/>
                <a:cs typeface="+mn-cs"/>
              </a:rPr>
              <a:t>Built accelerators and PoC’s to build trust with customer on this niche skillset.</a:t>
            </a:r>
          </a:p>
          <a:p>
            <a:pPr marL="155335" marR="0" lvl="2" indent="-155335" algn="l" defTabSz="843808" rtl="0" eaLnBrk="1" fontAlgn="base" latinLnBrk="0" hangingPunct="1">
              <a:lnSpc>
                <a:spcPct val="100000"/>
              </a:lnSpc>
              <a:spcBef>
                <a:spcPts val="0"/>
              </a:spcBef>
              <a:spcAft>
                <a:spcPts val="0"/>
              </a:spcAft>
              <a:buClr>
                <a:srgbClr val="0098C7"/>
              </a:buClr>
              <a:buSzTx/>
              <a:buFont typeface="Wingdings" pitchFamily="2" charset="2"/>
              <a:buChar char="§"/>
              <a:tabLst/>
              <a:defRPr/>
            </a:pPr>
            <a:r>
              <a:rPr kumimoji="0" lang="en-IN" sz="1300" b="0" i="0" u="none" strike="noStrike" kern="1200" cap="none" spc="0" normalizeH="0" baseline="0" noProof="0">
                <a:ln>
                  <a:noFill/>
                </a:ln>
                <a:solidFill>
                  <a:prstClr val="black"/>
                </a:solidFill>
                <a:effectLst/>
                <a:uLnTx/>
                <a:uFillTx/>
                <a:latin typeface="Ubuntu"/>
                <a:ea typeface="+mn-ea"/>
                <a:cs typeface="+mn-cs"/>
              </a:rPr>
              <a:t>Digital Capabilities – The solution provides for </a:t>
            </a:r>
            <a:r>
              <a:rPr kumimoji="0" lang="en-IN" sz="1300" b="1" i="0" u="none" strike="noStrike" kern="1200" cap="none" spc="0" normalizeH="0" baseline="0" noProof="0">
                <a:ln>
                  <a:noFill/>
                </a:ln>
                <a:solidFill>
                  <a:prstClr val="black"/>
                </a:solidFill>
                <a:effectLst/>
                <a:uLnTx/>
                <a:uFillTx/>
                <a:latin typeface="Ubuntu"/>
                <a:ea typeface="+mn-ea"/>
                <a:cs typeface="+mn-cs"/>
              </a:rPr>
              <a:t>paperless billing and electronic delivery </a:t>
            </a:r>
            <a:r>
              <a:rPr kumimoji="0" lang="en-IN" sz="1300" b="0" i="0" u="none" strike="noStrike" kern="1200" cap="none" spc="0" normalizeH="0" baseline="0" noProof="0">
                <a:ln>
                  <a:noFill/>
                </a:ln>
                <a:solidFill>
                  <a:prstClr val="black"/>
                </a:solidFill>
                <a:effectLst/>
                <a:uLnTx/>
                <a:uFillTx/>
                <a:latin typeface="Ubuntu"/>
                <a:ea typeface="+mn-ea"/>
                <a:cs typeface="+mn-cs"/>
              </a:rPr>
              <a:t>of policy documents</a:t>
            </a:r>
            <a:r>
              <a:rPr kumimoji="0" lang="en-IN" sz="1300" b="0" i="0" u="none" strike="noStrike" kern="1200" cap="none" spc="0" normalizeH="0" baseline="0" noProof="0">
                <a:ln>
                  <a:noFill/>
                </a:ln>
                <a:solidFill>
                  <a:srgbClr val="FFFFFF"/>
                </a:solidFill>
                <a:effectLst/>
                <a:uLnTx/>
                <a:uFillTx/>
                <a:latin typeface="Ubuntu"/>
                <a:ea typeface="+mn-ea"/>
                <a:cs typeface="+mn-cs"/>
              </a:rPr>
              <a:t>. </a:t>
            </a:r>
          </a:p>
        </p:txBody>
      </p:sp>
      <p:sp>
        <p:nvSpPr>
          <p:cNvPr id="32" name="Title 31"/>
          <p:cNvSpPr>
            <a:spLocks noGrp="1"/>
          </p:cNvSpPr>
          <p:nvPr>
            <p:ph type="title"/>
          </p:nvPr>
        </p:nvSpPr>
        <p:spPr>
          <a:xfrm>
            <a:off x="-146622" y="-247850"/>
            <a:ext cx="6550571" cy="1707347"/>
          </a:xfrm>
        </p:spPr>
        <p:txBody>
          <a:bodyPr vert="horz" lIns="480000" tIns="48000" rIns="96000" bIns="48000" rtlCol="0" anchor="ctr">
            <a:noAutofit/>
          </a:bodyPr>
          <a:lstStyle/>
          <a:p>
            <a:pPr>
              <a:defRPr/>
            </a:pPr>
            <a:r>
              <a:rPr lang="en-US" sz="1800" b="1">
                <a:solidFill>
                  <a:schemeClr val="tx1"/>
                </a:solidFill>
              </a:rPr>
              <a:t>NEW PRODUCT ROLLOUT across LAH portfolio  </a:t>
            </a:r>
          </a:p>
        </p:txBody>
      </p:sp>
      <p:pic>
        <p:nvPicPr>
          <p:cNvPr id="13" name="Picture 12">
            <a:extLst>
              <a:ext uri="{FF2B5EF4-FFF2-40B4-BE49-F238E27FC236}">
                <a16:creationId xmlns:a16="http://schemas.microsoft.com/office/drawing/2014/main" id="{6D201252-FB36-4BB0-80DE-3F8E9F91EF0B}"/>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42301" r="9057"/>
          <a:stretch/>
        </p:blipFill>
        <p:spPr>
          <a:xfrm>
            <a:off x="6261583" y="-11590"/>
            <a:ext cx="5930418" cy="6869590"/>
          </a:xfrm>
          <a:prstGeom prst="rect">
            <a:avLst/>
          </a:prstGeom>
        </p:spPr>
      </p:pic>
      <p:sp>
        <p:nvSpPr>
          <p:cNvPr id="15" name="TextBox 14">
            <a:extLst>
              <a:ext uri="{FF2B5EF4-FFF2-40B4-BE49-F238E27FC236}">
                <a16:creationId xmlns:a16="http://schemas.microsoft.com/office/drawing/2014/main" id="{7288ECCF-B023-446E-96B8-F7EF434593FF}"/>
              </a:ext>
            </a:extLst>
          </p:cNvPr>
          <p:cNvSpPr txBox="1"/>
          <p:nvPr/>
        </p:nvSpPr>
        <p:spPr>
          <a:xfrm>
            <a:off x="9552422" y="6353340"/>
            <a:ext cx="255580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70AD">
                    <a:lumMod val="50000"/>
                  </a:srgbClr>
                </a:solidFill>
                <a:effectLst/>
                <a:uLnTx/>
                <a:uFillTx/>
                <a:latin typeface="Verdana"/>
                <a:ea typeface="+mn-ea"/>
                <a:cs typeface="+mn-cs"/>
              </a:rPr>
              <a:t>Capgemini Confidential</a:t>
            </a:r>
          </a:p>
        </p:txBody>
      </p:sp>
      <p:grpSp>
        <p:nvGrpSpPr>
          <p:cNvPr id="2" name="Group 1">
            <a:extLst>
              <a:ext uri="{FF2B5EF4-FFF2-40B4-BE49-F238E27FC236}">
                <a16:creationId xmlns:a16="http://schemas.microsoft.com/office/drawing/2014/main" id="{D65505DB-6C87-2AF9-8071-BB4289FACD0C}"/>
              </a:ext>
            </a:extLst>
          </p:cNvPr>
          <p:cNvGrpSpPr/>
          <p:nvPr/>
        </p:nvGrpSpPr>
        <p:grpSpPr>
          <a:xfrm>
            <a:off x="45084" y="1012421"/>
            <a:ext cx="2640237" cy="520776"/>
            <a:chOff x="320133" y="1021220"/>
            <a:chExt cx="2640237" cy="520776"/>
          </a:xfrm>
        </p:grpSpPr>
        <p:grpSp>
          <p:nvGrpSpPr>
            <p:cNvPr id="3" name="Group 2">
              <a:extLst>
                <a:ext uri="{FF2B5EF4-FFF2-40B4-BE49-F238E27FC236}">
                  <a16:creationId xmlns:a16="http://schemas.microsoft.com/office/drawing/2014/main" id="{D627C6AE-FBE2-2F92-70CB-5DD9A81F4991}"/>
                </a:ext>
              </a:extLst>
            </p:cNvPr>
            <p:cNvGrpSpPr/>
            <p:nvPr/>
          </p:nvGrpSpPr>
          <p:grpSpPr>
            <a:xfrm>
              <a:off x="320133" y="1021220"/>
              <a:ext cx="2640237" cy="520776"/>
              <a:chOff x="135582" y="1710144"/>
              <a:chExt cx="2640237" cy="520776"/>
            </a:xfrm>
          </p:grpSpPr>
          <p:sp>
            <p:nvSpPr>
              <p:cNvPr id="10" name="Rectangle: Top Corners Snipped 46">
                <a:extLst>
                  <a:ext uri="{FF2B5EF4-FFF2-40B4-BE49-F238E27FC236}">
                    <a16:creationId xmlns:a16="http://schemas.microsoft.com/office/drawing/2014/main" id="{938FA270-F053-28EA-040C-8F3CFC039931}"/>
                  </a:ext>
                </a:extLst>
              </p:cNvPr>
              <p:cNvSpPr>
                <a:spLocks/>
              </p:cNvSpPr>
              <p:nvPr/>
            </p:nvSpPr>
            <p:spPr>
              <a:xfrm>
                <a:off x="501828" y="1819679"/>
                <a:ext cx="2273991" cy="322068"/>
              </a:xfrm>
              <a:prstGeom prst="rect">
                <a:avLst/>
              </a:prstGeom>
              <a:solidFill>
                <a:schemeClr val="accent2"/>
              </a:solid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prstClr val="white"/>
                    </a:solidFill>
                    <a:effectLst/>
                    <a:uLnTx/>
                    <a:uFillTx/>
                    <a:latin typeface="Ubuntu" panose="020B0504030602030204" pitchFamily="34" charset="0"/>
                    <a:ea typeface="+mn-ea"/>
                    <a:cs typeface="+mn-cs"/>
                  </a:rPr>
                  <a:t>       Business challenge</a:t>
                </a:r>
              </a:p>
            </p:txBody>
          </p:sp>
          <p:sp>
            <p:nvSpPr>
              <p:cNvPr id="11" name="Oval 10">
                <a:extLst>
                  <a:ext uri="{FF2B5EF4-FFF2-40B4-BE49-F238E27FC236}">
                    <a16:creationId xmlns:a16="http://schemas.microsoft.com/office/drawing/2014/main" id="{F32D5552-218C-B125-3C98-26E9F234C668}"/>
                  </a:ext>
                </a:extLst>
              </p:cNvPr>
              <p:cNvSpPr/>
              <p:nvPr/>
            </p:nvSpPr>
            <p:spPr>
              <a:xfrm>
                <a:off x="135582" y="1710144"/>
                <a:ext cx="520776" cy="520776"/>
              </a:xfrm>
              <a:prstGeom prst="ellipse">
                <a:avLst/>
              </a:prstGeom>
              <a:solidFill>
                <a:schemeClr val="accent1">
                  <a:lumMod val="50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Ubuntu" panose="020B0504030602030204" pitchFamily="34" charset="0"/>
                  <a:ea typeface="+mn-ea"/>
                  <a:cs typeface="+mn-cs"/>
                </a:endParaRPr>
              </a:p>
            </p:txBody>
          </p:sp>
        </p:grpSp>
        <p:grpSp>
          <p:nvGrpSpPr>
            <p:cNvPr id="4" name="Group 3">
              <a:extLst>
                <a:ext uri="{FF2B5EF4-FFF2-40B4-BE49-F238E27FC236}">
                  <a16:creationId xmlns:a16="http://schemas.microsoft.com/office/drawing/2014/main" id="{52B87A6B-DEA7-F94B-666C-51F0AC4F9510}"/>
                </a:ext>
              </a:extLst>
            </p:cNvPr>
            <p:cNvGrpSpPr/>
            <p:nvPr/>
          </p:nvGrpSpPr>
          <p:grpSpPr>
            <a:xfrm>
              <a:off x="418138" y="1127168"/>
              <a:ext cx="301865" cy="251137"/>
              <a:chOff x="646307" y="1893616"/>
              <a:chExt cx="371840" cy="309353"/>
            </a:xfrm>
            <a:solidFill>
              <a:schemeClr val="bg1"/>
            </a:solidFill>
          </p:grpSpPr>
          <p:sp>
            <p:nvSpPr>
              <p:cNvPr id="5" name="Freeform 26">
                <a:extLst>
                  <a:ext uri="{FF2B5EF4-FFF2-40B4-BE49-F238E27FC236}">
                    <a16:creationId xmlns:a16="http://schemas.microsoft.com/office/drawing/2014/main" id="{084071E1-A4C0-4353-3089-2A42A4F78FAE}"/>
                  </a:ext>
                </a:extLst>
              </p:cNvPr>
              <p:cNvSpPr>
                <a:spLocks noEditPoints="1"/>
              </p:cNvSpPr>
              <p:nvPr/>
            </p:nvSpPr>
            <p:spPr bwMode="auto">
              <a:xfrm>
                <a:off x="666194" y="1893616"/>
                <a:ext cx="351953" cy="309353"/>
              </a:xfrm>
              <a:custGeom>
                <a:avLst/>
                <a:gdLst>
                  <a:gd name="T0" fmla="*/ 1734 w 1747"/>
                  <a:gd name="T1" fmla="*/ 1404 h 1531"/>
                  <a:gd name="T2" fmla="*/ 948 w 1747"/>
                  <a:gd name="T3" fmla="*/ 42 h 1531"/>
                  <a:gd name="T4" fmla="*/ 876 w 1747"/>
                  <a:gd name="T5" fmla="*/ 0 h 1531"/>
                  <a:gd name="T6" fmla="*/ 804 w 1747"/>
                  <a:gd name="T7" fmla="*/ 42 h 1531"/>
                  <a:gd name="T8" fmla="*/ 15 w 1747"/>
                  <a:gd name="T9" fmla="*/ 1407 h 1531"/>
                  <a:gd name="T10" fmla="*/ 15 w 1747"/>
                  <a:gd name="T11" fmla="*/ 1490 h 1531"/>
                  <a:gd name="T12" fmla="*/ 87 w 1747"/>
                  <a:gd name="T13" fmla="*/ 1531 h 1531"/>
                  <a:gd name="T14" fmla="*/ 1664 w 1747"/>
                  <a:gd name="T15" fmla="*/ 1531 h 1531"/>
                  <a:gd name="T16" fmla="*/ 1664 w 1747"/>
                  <a:gd name="T17" fmla="*/ 1531 h 1531"/>
                  <a:gd name="T18" fmla="*/ 1747 w 1747"/>
                  <a:gd name="T19" fmla="*/ 1448 h 1531"/>
                  <a:gd name="T20" fmla="*/ 1734 w 1747"/>
                  <a:gd name="T21" fmla="*/ 1404 h 1531"/>
                  <a:gd name="T22" fmla="*/ 231 w 1747"/>
                  <a:gd name="T23" fmla="*/ 1366 h 1531"/>
                  <a:gd name="T24" fmla="*/ 876 w 1747"/>
                  <a:gd name="T25" fmla="*/ 250 h 1531"/>
                  <a:gd name="T26" fmla="*/ 1520 w 1747"/>
                  <a:gd name="T27" fmla="*/ 1366 h 1531"/>
                  <a:gd name="T28" fmla="*/ 231 w 1747"/>
                  <a:gd name="T29" fmla="*/ 1366 h 1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47" h="1531">
                    <a:moveTo>
                      <a:pt x="1734" y="1404"/>
                    </a:moveTo>
                    <a:cubicBezTo>
                      <a:pt x="948" y="42"/>
                      <a:pt x="948" y="42"/>
                      <a:pt x="948" y="42"/>
                    </a:cubicBezTo>
                    <a:cubicBezTo>
                      <a:pt x="933" y="16"/>
                      <a:pt x="905" y="0"/>
                      <a:pt x="876" y="0"/>
                    </a:cubicBezTo>
                    <a:cubicBezTo>
                      <a:pt x="846" y="0"/>
                      <a:pt x="818" y="16"/>
                      <a:pt x="804" y="42"/>
                    </a:cubicBezTo>
                    <a:cubicBezTo>
                      <a:pt x="15" y="1407"/>
                      <a:pt x="15" y="1407"/>
                      <a:pt x="15" y="1407"/>
                    </a:cubicBezTo>
                    <a:cubicBezTo>
                      <a:pt x="0" y="1433"/>
                      <a:pt x="0" y="1464"/>
                      <a:pt x="15" y="1490"/>
                    </a:cubicBezTo>
                    <a:cubicBezTo>
                      <a:pt x="30" y="1516"/>
                      <a:pt x="58" y="1531"/>
                      <a:pt x="87" y="1531"/>
                    </a:cubicBezTo>
                    <a:cubicBezTo>
                      <a:pt x="1664" y="1531"/>
                      <a:pt x="1664" y="1531"/>
                      <a:pt x="1664" y="1531"/>
                    </a:cubicBezTo>
                    <a:cubicBezTo>
                      <a:pt x="1664" y="1531"/>
                      <a:pt x="1664" y="1531"/>
                      <a:pt x="1664" y="1531"/>
                    </a:cubicBezTo>
                    <a:cubicBezTo>
                      <a:pt x="1710" y="1531"/>
                      <a:pt x="1747" y="1494"/>
                      <a:pt x="1747" y="1448"/>
                    </a:cubicBezTo>
                    <a:cubicBezTo>
                      <a:pt x="1747" y="1432"/>
                      <a:pt x="1743" y="1417"/>
                      <a:pt x="1734" y="1404"/>
                    </a:cubicBezTo>
                    <a:close/>
                    <a:moveTo>
                      <a:pt x="231" y="1366"/>
                    </a:moveTo>
                    <a:cubicBezTo>
                      <a:pt x="876" y="250"/>
                      <a:pt x="876" y="250"/>
                      <a:pt x="876" y="250"/>
                    </a:cubicBezTo>
                    <a:cubicBezTo>
                      <a:pt x="1520" y="1366"/>
                      <a:pt x="1520" y="1366"/>
                      <a:pt x="1520" y="1366"/>
                    </a:cubicBezTo>
                    <a:lnTo>
                      <a:pt x="231" y="1366"/>
                    </a:lnTo>
                    <a:close/>
                  </a:path>
                </a:pathLst>
              </a:custGeom>
              <a:grpFill/>
              <a:ln w="9525">
                <a:noFill/>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1000"/>
                  </a:spcBef>
                  <a:spcAft>
                    <a:spcPts val="0"/>
                  </a:spcAft>
                  <a:buClrTx/>
                  <a:buSzTx/>
                  <a:buFontTx/>
                  <a:buNone/>
                  <a:tabLst/>
                  <a:defRPr/>
                </a:pPr>
                <a:endParaRPr kumimoji="0" lang="en-IE" sz="3200" b="1" i="0" u="none" strike="noStrike" kern="0" cap="none" spc="0" normalizeH="0" baseline="0" noProof="0">
                  <a:ln>
                    <a:noFill/>
                  </a:ln>
                  <a:solidFill>
                    <a:prstClr val="white"/>
                  </a:solidFill>
                  <a:effectLst/>
                  <a:uLnTx/>
                  <a:uFillTx/>
                  <a:latin typeface="Ubuntu" panose="020B0504030602030204" pitchFamily="34" charset="0"/>
                  <a:ea typeface="+mn-ea"/>
                  <a:cs typeface="+mn-cs"/>
                </a:endParaRPr>
              </a:p>
            </p:txBody>
          </p:sp>
          <p:sp>
            <p:nvSpPr>
              <p:cNvPr id="6" name="Freeform 42">
                <a:extLst>
                  <a:ext uri="{FF2B5EF4-FFF2-40B4-BE49-F238E27FC236}">
                    <a16:creationId xmlns:a16="http://schemas.microsoft.com/office/drawing/2014/main" id="{355C4BC4-36AE-F266-A5F6-E69A2B5273F9}"/>
                  </a:ext>
                </a:extLst>
              </p:cNvPr>
              <p:cNvSpPr>
                <a:spLocks/>
              </p:cNvSpPr>
              <p:nvPr/>
            </p:nvSpPr>
            <p:spPr bwMode="auto">
              <a:xfrm>
                <a:off x="646307" y="1984458"/>
                <a:ext cx="154640" cy="185768"/>
              </a:xfrm>
              <a:custGeom>
                <a:avLst/>
                <a:gdLst>
                  <a:gd name="T0" fmla="*/ 1376 w 1540"/>
                  <a:gd name="T1" fmla="*/ 1682 h 1850"/>
                  <a:gd name="T2" fmla="*/ 1376 w 1540"/>
                  <a:gd name="T3" fmla="*/ 1690 h 1850"/>
                  <a:gd name="T4" fmla="*/ 1366 w 1540"/>
                  <a:gd name="T5" fmla="*/ 1720 h 1850"/>
                  <a:gd name="T6" fmla="*/ 1352 w 1540"/>
                  <a:gd name="T7" fmla="*/ 1750 h 1850"/>
                  <a:gd name="T8" fmla="*/ 1328 w 1540"/>
                  <a:gd name="T9" fmla="*/ 1782 h 1850"/>
                  <a:gd name="T10" fmla="*/ 1290 w 1540"/>
                  <a:gd name="T11" fmla="*/ 1812 h 1850"/>
                  <a:gd name="T12" fmla="*/ 1236 w 1540"/>
                  <a:gd name="T13" fmla="*/ 1834 h 1850"/>
                  <a:gd name="T14" fmla="*/ 1164 w 1540"/>
                  <a:gd name="T15" fmla="*/ 1848 h 1850"/>
                  <a:gd name="T16" fmla="*/ 272 w 1540"/>
                  <a:gd name="T17" fmla="*/ 1850 h 1850"/>
                  <a:gd name="T18" fmla="*/ 260 w 1540"/>
                  <a:gd name="T19" fmla="*/ 1846 h 1850"/>
                  <a:gd name="T20" fmla="*/ 186 w 1540"/>
                  <a:gd name="T21" fmla="*/ 1822 h 1850"/>
                  <a:gd name="T22" fmla="*/ 136 w 1540"/>
                  <a:gd name="T23" fmla="*/ 1800 h 1850"/>
                  <a:gd name="T24" fmla="*/ 86 w 1540"/>
                  <a:gd name="T25" fmla="*/ 1772 h 1850"/>
                  <a:gd name="T26" fmla="*/ 42 w 1540"/>
                  <a:gd name="T27" fmla="*/ 1736 h 1850"/>
                  <a:gd name="T28" fmla="*/ 18 w 1540"/>
                  <a:gd name="T29" fmla="*/ 1704 h 1850"/>
                  <a:gd name="T30" fmla="*/ 6 w 1540"/>
                  <a:gd name="T31" fmla="*/ 1680 h 1850"/>
                  <a:gd name="T32" fmla="*/ 0 w 1540"/>
                  <a:gd name="T33" fmla="*/ 1656 h 1850"/>
                  <a:gd name="T34" fmla="*/ 0 w 1540"/>
                  <a:gd name="T35" fmla="*/ 826 h 1850"/>
                  <a:gd name="T36" fmla="*/ 20 w 1540"/>
                  <a:gd name="T37" fmla="*/ 816 h 1850"/>
                  <a:gd name="T38" fmla="*/ 150 w 1540"/>
                  <a:gd name="T39" fmla="*/ 750 h 1850"/>
                  <a:gd name="T40" fmla="*/ 236 w 1540"/>
                  <a:gd name="T41" fmla="*/ 698 h 1850"/>
                  <a:gd name="T42" fmla="*/ 322 w 1540"/>
                  <a:gd name="T43" fmla="*/ 634 h 1850"/>
                  <a:gd name="T44" fmla="*/ 380 w 1540"/>
                  <a:gd name="T45" fmla="*/ 582 h 1850"/>
                  <a:gd name="T46" fmla="*/ 414 w 1540"/>
                  <a:gd name="T47" fmla="*/ 544 h 1850"/>
                  <a:gd name="T48" fmla="*/ 442 w 1540"/>
                  <a:gd name="T49" fmla="*/ 504 h 1850"/>
                  <a:gd name="T50" fmla="*/ 460 w 1540"/>
                  <a:gd name="T51" fmla="*/ 464 h 1850"/>
                  <a:gd name="T52" fmla="*/ 470 w 1540"/>
                  <a:gd name="T53" fmla="*/ 422 h 1850"/>
                  <a:gd name="T54" fmla="*/ 472 w 1540"/>
                  <a:gd name="T55" fmla="*/ 2 h 1850"/>
                  <a:gd name="T56" fmla="*/ 488 w 1540"/>
                  <a:gd name="T57" fmla="*/ 0 h 1850"/>
                  <a:gd name="T58" fmla="*/ 554 w 1540"/>
                  <a:gd name="T59" fmla="*/ 2 h 1850"/>
                  <a:gd name="T60" fmla="*/ 616 w 1540"/>
                  <a:gd name="T61" fmla="*/ 14 h 1850"/>
                  <a:gd name="T62" fmla="*/ 680 w 1540"/>
                  <a:gd name="T63" fmla="*/ 36 h 1850"/>
                  <a:gd name="T64" fmla="*/ 712 w 1540"/>
                  <a:gd name="T65" fmla="*/ 54 h 1850"/>
                  <a:gd name="T66" fmla="*/ 742 w 1540"/>
                  <a:gd name="T67" fmla="*/ 78 h 1850"/>
                  <a:gd name="T68" fmla="*/ 770 w 1540"/>
                  <a:gd name="T69" fmla="*/ 106 h 1850"/>
                  <a:gd name="T70" fmla="*/ 792 w 1540"/>
                  <a:gd name="T71" fmla="*/ 142 h 1850"/>
                  <a:gd name="T72" fmla="*/ 808 w 1540"/>
                  <a:gd name="T73" fmla="*/ 184 h 1850"/>
                  <a:gd name="T74" fmla="*/ 820 w 1540"/>
                  <a:gd name="T75" fmla="*/ 232 h 1850"/>
                  <a:gd name="T76" fmla="*/ 824 w 1540"/>
                  <a:gd name="T77" fmla="*/ 290 h 1850"/>
                  <a:gd name="T78" fmla="*/ 1328 w 1540"/>
                  <a:gd name="T79" fmla="*/ 658 h 1850"/>
                  <a:gd name="T80" fmla="*/ 1338 w 1540"/>
                  <a:gd name="T81" fmla="*/ 660 h 1850"/>
                  <a:gd name="T82" fmla="*/ 1404 w 1540"/>
                  <a:gd name="T83" fmla="*/ 684 h 1850"/>
                  <a:gd name="T84" fmla="*/ 1448 w 1540"/>
                  <a:gd name="T85" fmla="*/ 706 h 1850"/>
                  <a:gd name="T86" fmla="*/ 1488 w 1540"/>
                  <a:gd name="T87" fmla="*/ 738 h 1850"/>
                  <a:gd name="T88" fmla="*/ 1520 w 1540"/>
                  <a:gd name="T89" fmla="*/ 776 h 1850"/>
                  <a:gd name="T90" fmla="*/ 1536 w 1540"/>
                  <a:gd name="T91" fmla="*/ 812 h 1850"/>
                  <a:gd name="T92" fmla="*/ 1540 w 1540"/>
                  <a:gd name="T93" fmla="*/ 838 h 1850"/>
                  <a:gd name="T94" fmla="*/ 1538 w 1540"/>
                  <a:gd name="T95" fmla="*/ 866 h 1850"/>
                  <a:gd name="T96" fmla="*/ 1536 w 1540"/>
                  <a:gd name="T97" fmla="*/ 882 h 18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40" h="1850">
                    <a:moveTo>
                      <a:pt x="1536" y="882"/>
                    </a:moveTo>
                    <a:lnTo>
                      <a:pt x="1376" y="1682"/>
                    </a:lnTo>
                    <a:lnTo>
                      <a:pt x="1376" y="1682"/>
                    </a:lnTo>
                    <a:lnTo>
                      <a:pt x="1376" y="1690"/>
                    </a:lnTo>
                    <a:lnTo>
                      <a:pt x="1370" y="1708"/>
                    </a:lnTo>
                    <a:lnTo>
                      <a:pt x="1366" y="1720"/>
                    </a:lnTo>
                    <a:lnTo>
                      <a:pt x="1360" y="1736"/>
                    </a:lnTo>
                    <a:lnTo>
                      <a:pt x="1352" y="1750"/>
                    </a:lnTo>
                    <a:lnTo>
                      <a:pt x="1342" y="1766"/>
                    </a:lnTo>
                    <a:lnTo>
                      <a:pt x="1328" y="1782"/>
                    </a:lnTo>
                    <a:lnTo>
                      <a:pt x="1310" y="1796"/>
                    </a:lnTo>
                    <a:lnTo>
                      <a:pt x="1290" y="1812"/>
                    </a:lnTo>
                    <a:lnTo>
                      <a:pt x="1264" y="1824"/>
                    </a:lnTo>
                    <a:lnTo>
                      <a:pt x="1236" y="1834"/>
                    </a:lnTo>
                    <a:lnTo>
                      <a:pt x="1202" y="1842"/>
                    </a:lnTo>
                    <a:lnTo>
                      <a:pt x="1164" y="1848"/>
                    </a:lnTo>
                    <a:lnTo>
                      <a:pt x="1120" y="1850"/>
                    </a:lnTo>
                    <a:lnTo>
                      <a:pt x="272" y="1850"/>
                    </a:lnTo>
                    <a:lnTo>
                      <a:pt x="272" y="1850"/>
                    </a:lnTo>
                    <a:lnTo>
                      <a:pt x="260" y="1846"/>
                    </a:lnTo>
                    <a:lnTo>
                      <a:pt x="230" y="1838"/>
                    </a:lnTo>
                    <a:lnTo>
                      <a:pt x="186" y="1822"/>
                    </a:lnTo>
                    <a:lnTo>
                      <a:pt x="162" y="1812"/>
                    </a:lnTo>
                    <a:lnTo>
                      <a:pt x="136" y="1800"/>
                    </a:lnTo>
                    <a:lnTo>
                      <a:pt x="110" y="1786"/>
                    </a:lnTo>
                    <a:lnTo>
                      <a:pt x="86" y="1772"/>
                    </a:lnTo>
                    <a:lnTo>
                      <a:pt x="64" y="1754"/>
                    </a:lnTo>
                    <a:lnTo>
                      <a:pt x="42" y="1736"/>
                    </a:lnTo>
                    <a:lnTo>
                      <a:pt x="26" y="1714"/>
                    </a:lnTo>
                    <a:lnTo>
                      <a:pt x="18" y="1704"/>
                    </a:lnTo>
                    <a:lnTo>
                      <a:pt x="12" y="1692"/>
                    </a:lnTo>
                    <a:lnTo>
                      <a:pt x="6" y="1680"/>
                    </a:lnTo>
                    <a:lnTo>
                      <a:pt x="4" y="1668"/>
                    </a:lnTo>
                    <a:lnTo>
                      <a:pt x="0" y="1656"/>
                    </a:lnTo>
                    <a:lnTo>
                      <a:pt x="0" y="1642"/>
                    </a:lnTo>
                    <a:lnTo>
                      <a:pt x="0" y="826"/>
                    </a:lnTo>
                    <a:lnTo>
                      <a:pt x="0" y="826"/>
                    </a:lnTo>
                    <a:lnTo>
                      <a:pt x="20" y="816"/>
                    </a:lnTo>
                    <a:lnTo>
                      <a:pt x="74" y="792"/>
                    </a:lnTo>
                    <a:lnTo>
                      <a:pt x="150" y="750"/>
                    </a:lnTo>
                    <a:lnTo>
                      <a:pt x="192" y="726"/>
                    </a:lnTo>
                    <a:lnTo>
                      <a:pt x="236" y="698"/>
                    </a:lnTo>
                    <a:lnTo>
                      <a:pt x="280" y="668"/>
                    </a:lnTo>
                    <a:lnTo>
                      <a:pt x="322" y="634"/>
                    </a:lnTo>
                    <a:lnTo>
                      <a:pt x="362" y="600"/>
                    </a:lnTo>
                    <a:lnTo>
                      <a:pt x="380" y="582"/>
                    </a:lnTo>
                    <a:lnTo>
                      <a:pt x="398" y="562"/>
                    </a:lnTo>
                    <a:lnTo>
                      <a:pt x="414" y="544"/>
                    </a:lnTo>
                    <a:lnTo>
                      <a:pt x="428" y="524"/>
                    </a:lnTo>
                    <a:lnTo>
                      <a:pt x="442" y="504"/>
                    </a:lnTo>
                    <a:lnTo>
                      <a:pt x="452" y="484"/>
                    </a:lnTo>
                    <a:lnTo>
                      <a:pt x="460" y="464"/>
                    </a:lnTo>
                    <a:lnTo>
                      <a:pt x="466" y="444"/>
                    </a:lnTo>
                    <a:lnTo>
                      <a:pt x="470" y="422"/>
                    </a:lnTo>
                    <a:lnTo>
                      <a:pt x="472" y="402"/>
                    </a:lnTo>
                    <a:lnTo>
                      <a:pt x="472" y="2"/>
                    </a:lnTo>
                    <a:lnTo>
                      <a:pt x="472" y="2"/>
                    </a:lnTo>
                    <a:lnTo>
                      <a:pt x="488" y="0"/>
                    </a:lnTo>
                    <a:lnTo>
                      <a:pt x="528" y="0"/>
                    </a:lnTo>
                    <a:lnTo>
                      <a:pt x="554" y="2"/>
                    </a:lnTo>
                    <a:lnTo>
                      <a:pt x="584" y="6"/>
                    </a:lnTo>
                    <a:lnTo>
                      <a:pt x="616" y="14"/>
                    </a:lnTo>
                    <a:lnTo>
                      <a:pt x="648" y="22"/>
                    </a:lnTo>
                    <a:lnTo>
                      <a:pt x="680" y="36"/>
                    </a:lnTo>
                    <a:lnTo>
                      <a:pt x="696" y="46"/>
                    </a:lnTo>
                    <a:lnTo>
                      <a:pt x="712" y="54"/>
                    </a:lnTo>
                    <a:lnTo>
                      <a:pt x="728" y="66"/>
                    </a:lnTo>
                    <a:lnTo>
                      <a:pt x="742" y="78"/>
                    </a:lnTo>
                    <a:lnTo>
                      <a:pt x="756" y="92"/>
                    </a:lnTo>
                    <a:lnTo>
                      <a:pt x="770" y="106"/>
                    </a:lnTo>
                    <a:lnTo>
                      <a:pt x="780" y="124"/>
                    </a:lnTo>
                    <a:lnTo>
                      <a:pt x="792" y="142"/>
                    </a:lnTo>
                    <a:lnTo>
                      <a:pt x="800" y="162"/>
                    </a:lnTo>
                    <a:lnTo>
                      <a:pt x="808" y="184"/>
                    </a:lnTo>
                    <a:lnTo>
                      <a:pt x="816" y="208"/>
                    </a:lnTo>
                    <a:lnTo>
                      <a:pt x="820" y="232"/>
                    </a:lnTo>
                    <a:lnTo>
                      <a:pt x="822" y="260"/>
                    </a:lnTo>
                    <a:lnTo>
                      <a:pt x="824" y="290"/>
                    </a:lnTo>
                    <a:lnTo>
                      <a:pt x="824" y="658"/>
                    </a:lnTo>
                    <a:lnTo>
                      <a:pt x="1328" y="658"/>
                    </a:lnTo>
                    <a:lnTo>
                      <a:pt x="1328" y="658"/>
                    </a:lnTo>
                    <a:lnTo>
                      <a:pt x="1338" y="660"/>
                    </a:lnTo>
                    <a:lnTo>
                      <a:pt x="1366" y="670"/>
                    </a:lnTo>
                    <a:lnTo>
                      <a:pt x="1404" y="684"/>
                    </a:lnTo>
                    <a:lnTo>
                      <a:pt x="1426" y="694"/>
                    </a:lnTo>
                    <a:lnTo>
                      <a:pt x="1448" y="706"/>
                    </a:lnTo>
                    <a:lnTo>
                      <a:pt x="1468" y="722"/>
                    </a:lnTo>
                    <a:lnTo>
                      <a:pt x="1488" y="738"/>
                    </a:lnTo>
                    <a:lnTo>
                      <a:pt x="1506" y="756"/>
                    </a:lnTo>
                    <a:lnTo>
                      <a:pt x="1520" y="776"/>
                    </a:lnTo>
                    <a:lnTo>
                      <a:pt x="1532" y="798"/>
                    </a:lnTo>
                    <a:lnTo>
                      <a:pt x="1536" y="812"/>
                    </a:lnTo>
                    <a:lnTo>
                      <a:pt x="1538" y="824"/>
                    </a:lnTo>
                    <a:lnTo>
                      <a:pt x="1540" y="838"/>
                    </a:lnTo>
                    <a:lnTo>
                      <a:pt x="1540" y="852"/>
                    </a:lnTo>
                    <a:lnTo>
                      <a:pt x="1538" y="866"/>
                    </a:lnTo>
                    <a:lnTo>
                      <a:pt x="1536" y="882"/>
                    </a:lnTo>
                    <a:lnTo>
                      <a:pt x="1536" y="882"/>
                    </a:lnTo>
                    <a:close/>
                  </a:path>
                </a:pathLst>
              </a:custGeom>
              <a:grpFill/>
              <a:ln w="28575">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Ubuntu" panose="020B0504030602030204" pitchFamily="34" charset="0"/>
                  <a:ea typeface="+mn-ea"/>
                  <a:cs typeface="+mn-cs"/>
                </a:endParaRPr>
              </a:p>
            </p:txBody>
          </p:sp>
          <p:grpSp>
            <p:nvGrpSpPr>
              <p:cNvPr id="7" name="Groupe 13">
                <a:extLst>
                  <a:ext uri="{FF2B5EF4-FFF2-40B4-BE49-F238E27FC236}">
                    <a16:creationId xmlns:a16="http://schemas.microsoft.com/office/drawing/2014/main" id="{0CDDEFD8-F4F8-F2C6-B639-01D52591D665}"/>
                  </a:ext>
                </a:extLst>
              </p:cNvPr>
              <p:cNvGrpSpPr>
                <a:grpSpLocks noChangeAspect="1"/>
              </p:cNvGrpSpPr>
              <p:nvPr/>
            </p:nvGrpSpPr>
            <p:grpSpPr>
              <a:xfrm>
                <a:off x="814408" y="1977820"/>
                <a:ext cx="52018" cy="177225"/>
                <a:chOff x="-687930" y="3942515"/>
                <a:chExt cx="120467" cy="410428"/>
              </a:xfrm>
              <a:grpFill/>
            </p:grpSpPr>
            <p:sp>
              <p:nvSpPr>
                <p:cNvPr id="8" name="Freeform 115">
                  <a:extLst>
                    <a:ext uri="{FF2B5EF4-FFF2-40B4-BE49-F238E27FC236}">
                      <a16:creationId xmlns:a16="http://schemas.microsoft.com/office/drawing/2014/main" id="{D62AB16E-21C9-2A08-55C3-AFB39BFD42AE}"/>
                    </a:ext>
                  </a:extLst>
                </p:cNvPr>
                <p:cNvSpPr>
                  <a:spLocks/>
                </p:cNvSpPr>
                <p:nvPr/>
              </p:nvSpPr>
              <p:spPr bwMode="auto">
                <a:xfrm>
                  <a:off x="-671121" y="3942515"/>
                  <a:ext cx="86848" cy="284359"/>
                </a:xfrm>
                <a:custGeom>
                  <a:avLst/>
                  <a:gdLst>
                    <a:gd name="T0" fmla="*/ 0 w 26"/>
                    <a:gd name="T1" fmla="*/ 12 h 86"/>
                    <a:gd name="T2" fmla="*/ 26 w 26"/>
                    <a:gd name="T3" fmla="*/ 9 h 86"/>
                    <a:gd name="T4" fmla="*/ 26 w 26"/>
                    <a:gd name="T5" fmla="*/ 38 h 86"/>
                    <a:gd name="T6" fmla="*/ 25 w 26"/>
                    <a:gd name="T7" fmla="*/ 63 h 86"/>
                    <a:gd name="T8" fmla="*/ 22 w 26"/>
                    <a:gd name="T9" fmla="*/ 86 h 86"/>
                    <a:gd name="T10" fmla="*/ 4 w 26"/>
                    <a:gd name="T11" fmla="*/ 86 h 86"/>
                    <a:gd name="T12" fmla="*/ 1 w 26"/>
                    <a:gd name="T13" fmla="*/ 63 h 86"/>
                    <a:gd name="T14" fmla="*/ 0 w 26"/>
                    <a:gd name="T15" fmla="*/ 38 h 86"/>
                    <a:gd name="T16" fmla="*/ 0 w 26"/>
                    <a:gd name="T17" fmla="*/ 16 h 86"/>
                    <a:gd name="T18" fmla="*/ 0 w 26"/>
                    <a:gd name="T19" fmla="*/ 1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86">
                      <a:moveTo>
                        <a:pt x="0" y="12"/>
                      </a:moveTo>
                      <a:cubicBezTo>
                        <a:pt x="0" y="0"/>
                        <a:pt x="25" y="9"/>
                        <a:pt x="26" y="9"/>
                      </a:cubicBezTo>
                      <a:cubicBezTo>
                        <a:pt x="26" y="11"/>
                        <a:pt x="26" y="38"/>
                        <a:pt x="26" y="38"/>
                      </a:cubicBezTo>
                      <a:cubicBezTo>
                        <a:pt x="26" y="47"/>
                        <a:pt x="26" y="55"/>
                        <a:pt x="25" y="63"/>
                      </a:cubicBezTo>
                      <a:cubicBezTo>
                        <a:pt x="24" y="70"/>
                        <a:pt x="23" y="78"/>
                        <a:pt x="22" y="86"/>
                      </a:cubicBezTo>
                      <a:cubicBezTo>
                        <a:pt x="4" y="86"/>
                        <a:pt x="4" y="86"/>
                        <a:pt x="4" y="86"/>
                      </a:cubicBezTo>
                      <a:cubicBezTo>
                        <a:pt x="2" y="78"/>
                        <a:pt x="2" y="70"/>
                        <a:pt x="1" y="63"/>
                      </a:cubicBezTo>
                      <a:cubicBezTo>
                        <a:pt x="0" y="55"/>
                        <a:pt x="0" y="47"/>
                        <a:pt x="0" y="38"/>
                      </a:cubicBezTo>
                      <a:cubicBezTo>
                        <a:pt x="0" y="16"/>
                        <a:pt x="0" y="16"/>
                        <a:pt x="0" y="16"/>
                      </a:cubicBezTo>
                      <a:cubicBezTo>
                        <a:pt x="0" y="16"/>
                        <a:pt x="0" y="19"/>
                        <a:pt x="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Ubuntu" panose="020B0504030602030204" pitchFamily="34" charset="0"/>
                    <a:ea typeface="+mn-ea"/>
                    <a:cs typeface="+mn-cs"/>
                  </a:endParaRPr>
                </a:p>
              </p:txBody>
            </p:sp>
            <p:sp>
              <p:nvSpPr>
                <p:cNvPr id="9" name="Freeform 116">
                  <a:extLst>
                    <a:ext uri="{FF2B5EF4-FFF2-40B4-BE49-F238E27FC236}">
                      <a16:creationId xmlns:a16="http://schemas.microsoft.com/office/drawing/2014/main" id="{A85DB8D9-C38F-9704-2EE5-E9492D84B580}"/>
                    </a:ext>
                  </a:extLst>
                </p:cNvPr>
                <p:cNvSpPr>
                  <a:spLocks/>
                </p:cNvSpPr>
                <p:nvPr/>
              </p:nvSpPr>
              <p:spPr bwMode="auto">
                <a:xfrm>
                  <a:off x="-687930" y="4243682"/>
                  <a:ext cx="120467" cy="109261"/>
                </a:xfrm>
                <a:custGeom>
                  <a:avLst/>
                  <a:gdLst>
                    <a:gd name="T0" fmla="*/ 5 w 36"/>
                    <a:gd name="T1" fmla="*/ 25 h 33"/>
                    <a:gd name="T2" fmla="*/ 9 w 36"/>
                    <a:gd name="T3" fmla="*/ 5 h 33"/>
                    <a:gd name="T4" fmla="*/ 30 w 36"/>
                    <a:gd name="T5" fmla="*/ 8 h 33"/>
                    <a:gd name="T6" fmla="*/ 27 w 36"/>
                    <a:gd name="T7" fmla="*/ 28 h 33"/>
                    <a:gd name="T8" fmla="*/ 5 w 36"/>
                    <a:gd name="T9" fmla="*/ 25 h 33"/>
                  </a:gdLst>
                  <a:ahLst/>
                  <a:cxnLst>
                    <a:cxn ang="0">
                      <a:pos x="T0" y="T1"/>
                    </a:cxn>
                    <a:cxn ang="0">
                      <a:pos x="T2" y="T3"/>
                    </a:cxn>
                    <a:cxn ang="0">
                      <a:pos x="T4" y="T5"/>
                    </a:cxn>
                    <a:cxn ang="0">
                      <a:pos x="T6" y="T7"/>
                    </a:cxn>
                    <a:cxn ang="0">
                      <a:pos x="T8" y="T9"/>
                    </a:cxn>
                  </a:cxnLst>
                  <a:rect l="0" t="0" r="r" b="b"/>
                  <a:pathLst>
                    <a:path w="36" h="33">
                      <a:moveTo>
                        <a:pt x="5" y="25"/>
                      </a:moveTo>
                      <a:cubicBezTo>
                        <a:pt x="0" y="19"/>
                        <a:pt x="2" y="9"/>
                        <a:pt x="9" y="5"/>
                      </a:cubicBezTo>
                      <a:cubicBezTo>
                        <a:pt x="16" y="0"/>
                        <a:pt x="25" y="1"/>
                        <a:pt x="30" y="8"/>
                      </a:cubicBezTo>
                      <a:cubicBezTo>
                        <a:pt x="36" y="14"/>
                        <a:pt x="33" y="23"/>
                        <a:pt x="27" y="28"/>
                      </a:cubicBezTo>
                      <a:cubicBezTo>
                        <a:pt x="20" y="33"/>
                        <a:pt x="10" y="32"/>
                        <a:pt x="5"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Ubuntu" panose="020B0504030602030204" pitchFamily="34" charset="0"/>
                    <a:ea typeface="+mn-ea"/>
                    <a:cs typeface="+mn-cs"/>
                  </a:endParaRPr>
                </a:p>
              </p:txBody>
            </p:sp>
          </p:grpSp>
        </p:grpSp>
      </p:grpSp>
      <p:grpSp>
        <p:nvGrpSpPr>
          <p:cNvPr id="12" name="Group 11">
            <a:extLst>
              <a:ext uri="{FF2B5EF4-FFF2-40B4-BE49-F238E27FC236}">
                <a16:creationId xmlns:a16="http://schemas.microsoft.com/office/drawing/2014/main" id="{37E2332B-9AFC-351E-F47B-81B341F430A4}"/>
              </a:ext>
            </a:extLst>
          </p:cNvPr>
          <p:cNvGrpSpPr/>
          <p:nvPr/>
        </p:nvGrpSpPr>
        <p:grpSpPr>
          <a:xfrm>
            <a:off x="45084" y="2308527"/>
            <a:ext cx="2640237" cy="520776"/>
            <a:chOff x="322513" y="3132432"/>
            <a:chExt cx="2640237" cy="520776"/>
          </a:xfrm>
        </p:grpSpPr>
        <p:sp>
          <p:nvSpPr>
            <p:cNvPr id="17" name="Rectangle: Top Corners Snipped 46">
              <a:extLst>
                <a:ext uri="{FF2B5EF4-FFF2-40B4-BE49-F238E27FC236}">
                  <a16:creationId xmlns:a16="http://schemas.microsoft.com/office/drawing/2014/main" id="{9AA71C22-1400-924F-1FB6-470A27AE4E4E}"/>
                </a:ext>
              </a:extLst>
            </p:cNvPr>
            <p:cNvSpPr>
              <a:spLocks/>
            </p:cNvSpPr>
            <p:nvPr/>
          </p:nvSpPr>
          <p:spPr>
            <a:xfrm>
              <a:off x="783742" y="3235663"/>
              <a:ext cx="2179008" cy="322068"/>
            </a:xfrm>
            <a:prstGeom prst="rect">
              <a:avLst/>
            </a:prstGeom>
            <a:solidFill>
              <a:schemeClr val="accent2"/>
            </a:solid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prstClr val="white"/>
                  </a:solidFill>
                  <a:effectLst/>
                  <a:uLnTx/>
                  <a:uFillTx/>
                  <a:latin typeface="Ubuntu" panose="020B0504030602030204" pitchFamily="34" charset="0"/>
                  <a:ea typeface="+mn-ea"/>
                  <a:cs typeface="+mn-cs"/>
                </a:rPr>
                <a:t>    Solution</a:t>
              </a:r>
            </a:p>
          </p:txBody>
        </p:sp>
        <p:sp>
          <p:nvSpPr>
            <p:cNvPr id="18" name="Oval 17">
              <a:extLst>
                <a:ext uri="{FF2B5EF4-FFF2-40B4-BE49-F238E27FC236}">
                  <a16:creationId xmlns:a16="http://schemas.microsoft.com/office/drawing/2014/main" id="{C6B94CEF-8512-C469-9664-1E83471511DB}"/>
                </a:ext>
              </a:extLst>
            </p:cNvPr>
            <p:cNvSpPr/>
            <p:nvPr/>
          </p:nvSpPr>
          <p:spPr>
            <a:xfrm>
              <a:off x="322513" y="3132432"/>
              <a:ext cx="520776" cy="520776"/>
            </a:xfrm>
            <a:prstGeom prst="ellipse">
              <a:avLst/>
            </a:prstGeom>
            <a:solidFill>
              <a:schemeClr val="accent1">
                <a:lumMod val="7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Ubuntu" panose="020B0504030602030204" pitchFamily="34" charset="0"/>
                <a:ea typeface="+mn-ea"/>
                <a:cs typeface="+mn-cs"/>
              </a:endParaRPr>
            </a:p>
          </p:txBody>
        </p:sp>
        <p:grpSp>
          <p:nvGrpSpPr>
            <p:cNvPr id="19" name="Group 148">
              <a:extLst>
                <a:ext uri="{FF2B5EF4-FFF2-40B4-BE49-F238E27FC236}">
                  <a16:creationId xmlns:a16="http://schemas.microsoft.com/office/drawing/2014/main" id="{7714E9E1-4164-62EC-6B25-865ABFA714EF}"/>
                </a:ext>
              </a:extLst>
            </p:cNvPr>
            <p:cNvGrpSpPr/>
            <p:nvPr/>
          </p:nvGrpSpPr>
          <p:grpSpPr>
            <a:xfrm>
              <a:off x="403340" y="3258953"/>
              <a:ext cx="319043" cy="267739"/>
              <a:chOff x="6024422" y="2090478"/>
              <a:chExt cx="1035584" cy="869053"/>
            </a:xfrm>
            <a:solidFill>
              <a:schemeClr val="bg1"/>
            </a:solidFill>
          </p:grpSpPr>
          <p:sp>
            <p:nvSpPr>
              <p:cNvPr id="20" name="Freeform 26">
                <a:extLst>
                  <a:ext uri="{FF2B5EF4-FFF2-40B4-BE49-F238E27FC236}">
                    <a16:creationId xmlns:a16="http://schemas.microsoft.com/office/drawing/2014/main" id="{117657E8-732B-215F-E6A8-CF2A499085AA}"/>
                  </a:ext>
                </a:extLst>
              </p:cNvPr>
              <p:cNvSpPr>
                <a:spLocks/>
              </p:cNvSpPr>
              <p:nvPr/>
            </p:nvSpPr>
            <p:spPr bwMode="auto">
              <a:xfrm>
                <a:off x="6603790" y="2493517"/>
                <a:ext cx="456216" cy="466014"/>
              </a:xfrm>
              <a:custGeom>
                <a:avLst/>
                <a:gdLst>
                  <a:gd name="T0" fmla="*/ 699 w 749"/>
                  <a:gd name="T1" fmla="*/ 441 h 763"/>
                  <a:gd name="T2" fmla="*/ 260 w 749"/>
                  <a:gd name="T3" fmla="*/ 0 h 763"/>
                  <a:gd name="T4" fmla="*/ 204 w 749"/>
                  <a:gd name="T5" fmla="*/ 96 h 763"/>
                  <a:gd name="T6" fmla="*/ 599 w 749"/>
                  <a:gd name="T7" fmla="*/ 493 h 763"/>
                  <a:gd name="T8" fmla="*/ 599 w 749"/>
                  <a:gd name="T9" fmla="*/ 540 h 763"/>
                  <a:gd name="T10" fmla="*/ 575 w 749"/>
                  <a:gd name="T11" fmla="*/ 549 h 763"/>
                  <a:gd name="T12" fmla="*/ 552 w 749"/>
                  <a:gd name="T13" fmla="*/ 540 h 763"/>
                  <a:gd name="T14" fmla="*/ 161 w 749"/>
                  <a:gd name="T15" fmla="*/ 146 h 763"/>
                  <a:gd name="T16" fmla="*/ 159 w 749"/>
                  <a:gd name="T17" fmla="*/ 149 h 763"/>
                  <a:gd name="T18" fmla="*/ 159 w 749"/>
                  <a:gd name="T19" fmla="*/ 149 h 763"/>
                  <a:gd name="T20" fmla="*/ 0 w 749"/>
                  <a:gd name="T21" fmla="*/ 254 h 763"/>
                  <a:gd name="T22" fmla="*/ 4 w 749"/>
                  <a:gd name="T23" fmla="*/ 367 h 763"/>
                  <a:gd name="T24" fmla="*/ 45 w 749"/>
                  <a:gd name="T25" fmla="*/ 409 h 763"/>
                  <a:gd name="T26" fmla="*/ 172 w 749"/>
                  <a:gd name="T27" fmla="*/ 414 h 763"/>
                  <a:gd name="T28" fmla="*/ 176 w 749"/>
                  <a:gd name="T29" fmla="*/ 540 h 763"/>
                  <a:gd name="T30" fmla="*/ 218 w 749"/>
                  <a:gd name="T31" fmla="*/ 582 h 763"/>
                  <a:gd name="T32" fmla="*/ 344 w 749"/>
                  <a:gd name="T33" fmla="*/ 587 h 763"/>
                  <a:gd name="T34" fmla="*/ 348 w 749"/>
                  <a:gd name="T35" fmla="*/ 713 h 763"/>
                  <a:gd name="T36" fmla="*/ 361 w 749"/>
                  <a:gd name="T37" fmla="*/ 742 h 763"/>
                  <a:gd name="T38" fmla="*/ 390 w 749"/>
                  <a:gd name="T39" fmla="*/ 755 h 763"/>
                  <a:gd name="T40" fmla="*/ 557 w 749"/>
                  <a:gd name="T41" fmla="*/ 762 h 763"/>
                  <a:gd name="T42" fmla="*/ 557 w 749"/>
                  <a:gd name="T43" fmla="*/ 741 h 763"/>
                  <a:gd name="T44" fmla="*/ 557 w 749"/>
                  <a:gd name="T45" fmla="*/ 762 h 763"/>
                  <a:gd name="T46" fmla="*/ 564 w 749"/>
                  <a:gd name="T47" fmla="*/ 763 h 763"/>
                  <a:gd name="T48" fmla="*/ 697 w 749"/>
                  <a:gd name="T49" fmla="*/ 707 h 763"/>
                  <a:gd name="T50" fmla="*/ 749 w 749"/>
                  <a:gd name="T51" fmla="*/ 573 h 763"/>
                  <a:gd name="T52" fmla="*/ 699 w 749"/>
                  <a:gd name="T53" fmla="*/ 441 h 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49" h="763">
                    <a:moveTo>
                      <a:pt x="699" y="441"/>
                    </a:moveTo>
                    <a:cubicBezTo>
                      <a:pt x="659" y="401"/>
                      <a:pt x="417" y="157"/>
                      <a:pt x="260" y="0"/>
                    </a:cubicBezTo>
                    <a:cubicBezTo>
                      <a:pt x="246" y="33"/>
                      <a:pt x="227" y="66"/>
                      <a:pt x="204" y="96"/>
                    </a:cubicBezTo>
                    <a:cubicBezTo>
                      <a:pt x="599" y="493"/>
                      <a:pt x="599" y="493"/>
                      <a:pt x="599" y="493"/>
                    </a:cubicBezTo>
                    <a:cubicBezTo>
                      <a:pt x="612" y="506"/>
                      <a:pt x="611" y="527"/>
                      <a:pt x="599" y="540"/>
                    </a:cubicBezTo>
                    <a:cubicBezTo>
                      <a:pt x="592" y="546"/>
                      <a:pt x="584" y="549"/>
                      <a:pt x="575" y="549"/>
                    </a:cubicBezTo>
                    <a:cubicBezTo>
                      <a:pt x="567" y="549"/>
                      <a:pt x="558" y="546"/>
                      <a:pt x="552" y="540"/>
                    </a:cubicBezTo>
                    <a:cubicBezTo>
                      <a:pt x="161" y="146"/>
                      <a:pt x="161" y="146"/>
                      <a:pt x="161" y="146"/>
                    </a:cubicBezTo>
                    <a:cubicBezTo>
                      <a:pt x="160" y="147"/>
                      <a:pt x="159" y="148"/>
                      <a:pt x="159" y="149"/>
                    </a:cubicBezTo>
                    <a:cubicBezTo>
                      <a:pt x="159" y="149"/>
                      <a:pt x="159" y="149"/>
                      <a:pt x="159" y="149"/>
                    </a:cubicBezTo>
                    <a:cubicBezTo>
                      <a:pt x="112" y="195"/>
                      <a:pt x="58" y="230"/>
                      <a:pt x="0" y="254"/>
                    </a:cubicBezTo>
                    <a:cubicBezTo>
                      <a:pt x="4" y="367"/>
                      <a:pt x="4" y="367"/>
                      <a:pt x="4" y="367"/>
                    </a:cubicBezTo>
                    <a:cubicBezTo>
                      <a:pt x="5" y="389"/>
                      <a:pt x="23" y="408"/>
                      <a:pt x="45" y="409"/>
                    </a:cubicBezTo>
                    <a:cubicBezTo>
                      <a:pt x="172" y="414"/>
                      <a:pt x="172" y="414"/>
                      <a:pt x="172" y="414"/>
                    </a:cubicBezTo>
                    <a:cubicBezTo>
                      <a:pt x="176" y="540"/>
                      <a:pt x="176" y="540"/>
                      <a:pt x="176" y="540"/>
                    </a:cubicBezTo>
                    <a:cubicBezTo>
                      <a:pt x="177" y="563"/>
                      <a:pt x="195" y="581"/>
                      <a:pt x="218" y="582"/>
                    </a:cubicBezTo>
                    <a:cubicBezTo>
                      <a:pt x="344" y="587"/>
                      <a:pt x="344" y="587"/>
                      <a:pt x="344" y="587"/>
                    </a:cubicBezTo>
                    <a:cubicBezTo>
                      <a:pt x="348" y="713"/>
                      <a:pt x="348" y="713"/>
                      <a:pt x="348" y="713"/>
                    </a:cubicBezTo>
                    <a:cubicBezTo>
                      <a:pt x="348" y="724"/>
                      <a:pt x="353" y="735"/>
                      <a:pt x="361" y="742"/>
                    </a:cubicBezTo>
                    <a:cubicBezTo>
                      <a:pt x="368" y="750"/>
                      <a:pt x="378" y="755"/>
                      <a:pt x="390" y="755"/>
                    </a:cubicBezTo>
                    <a:cubicBezTo>
                      <a:pt x="389" y="755"/>
                      <a:pt x="526" y="761"/>
                      <a:pt x="557" y="762"/>
                    </a:cubicBezTo>
                    <a:cubicBezTo>
                      <a:pt x="557" y="741"/>
                      <a:pt x="557" y="741"/>
                      <a:pt x="557" y="741"/>
                    </a:cubicBezTo>
                    <a:cubicBezTo>
                      <a:pt x="557" y="762"/>
                      <a:pt x="557" y="762"/>
                      <a:pt x="557" y="762"/>
                    </a:cubicBezTo>
                    <a:cubicBezTo>
                      <a:pt x="559" y="763"/>
                      <a:pt x="561" y="763"/>
                      <a:pt x="564" y="763"/>
                    </a:cubicBezTo>
                    <a:cubicBezTo>
                      <a:pt x="618" y="763"/>
                      <a:pt x="664" y="740"/>
                      <a:pt x="697" y="707"/>
                    </a:cubicBezTo>
                    <a:cubicBezTo>
                      <a:pt x="733" y="672"/>
                      <a:pt x="749" y="622"/>
                      <a:pt x="749" y="573"/>
                    </a:cubicBezTo>
                    <a:cubicBezTo>
                      <a:pt x="749" y="524"/>
                      <a:pt x="733" y="476"/>
                      <a:pt x="699" y="4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noProof="0">
                  <a:ln>
                    <a:noFill/>
                  </a:ln>
                  <a:solidFill>
                    <a:srgbClr val="000000"/>
                  </a:solidFill>
                  <a:effectLst/>
                  <a:uLnTx/>
                  <a:uFillTx/>
                  <a:latin typeface="Ubuntu" panose="020B0504030602030204" pitchFamily="34" charset="0"/>
                  <a:ea typeface="+mn-ea"/>
                  <a:cs typeface="+mn-cs"/>
                </a:endParaRPr>
              </a:p>
            </p:txBody>
          </p:sp>
          <p:sp>
            <p:nvSpPr>
              <p:cNvPr id="21" name="Freeform 27">
                <a:extLst>
                  <a:ext uri="{FF2B5EF4-FFF2-40B4-BE49-F238E27FC236}">
                    <a16:creationId xmlns:a16="http://schemas.microsoft.com/office/drawing/2014/main" id="{9DFB417E-E75F-6C65-45D0-F75B327E64D5}"/>
                  </a:ext>
                </a:extLst>
              </p:cNvPr>
              <p:cNvSpPr>
                <a:spLocks noEditPoints="1"/>
              </p:cNvSpPr>
              <p:nvPr/>
            </p:nvSpPr>
            <p:spPr bwMode="auto">
              <a:xfrm>
                <a:off x="6024422" y="2090478"/>
                <a:ext cx="740303" cy="589164"/>
              </a:xfrm>
              <a:custGeom>
                <a:avLst/>
                <a:gdLst>
                  <a:gd name="T0" fmla="*/ 1069 w 1214"/>
                  <a:gd name="T1" fmla="*/ 754 h 966"/>
                  <a:gd name="T2" fmla="*/ 1099 w 1214"/>
                  <a:gd name="T3" fmla="*/ 719 h 966"/>
                  <a:gd name="T4" fmla="*/ 1159 w 1214"/>
                  <a:gd name="T5" fmla="*/ 610 h 966"/>
                  <a:gd name="T6" fmla="*/ 1063 w 1214"/>
                  <a:gd name="T7" fmla="*/ 166 h 966"/>
                  <a:gd name="T8" fmla="*/ 466 w 1214"/>
                  <a:gd name="T9" fmla="*/ 164 h 966"/>
                  <a:gd name="T10" fmla="*/ 356 w 1214"/>
                  <a:gd name="T11" fmla="*/ 357 h 966"/>
                  <a:gd name="T12" fmla="*/ 249 w 1214"/>
                  <a:gd name="T13" fmla="*/ 429 h 966"/>
                  <a:gd name="T14" fmla="*/ 47 w 1214"/>
                  <a:gd name="T15" fmla="*/ 661 h 966"/>
                  <a:gd name="T16" fmla="*/ 16 w 1214"/>
                  <a:gd name="T17" fmla="*/ 851 h 966"/>
                  <a:gd name="T18" fmla="*/ 42 w 1214"/>
                  <a:gd name="T19" fmla="*/ 902 h 966"/>
                  <a:gd name="T20" fmla="*/ 94 w 1214"/>
                  <a:gd name="T21" fmla="*/ 944 h 966"/>
                  <a:gd name="T22" fmla="*/ 192 w 1214"/>
                  <a:gd name="T23" fmla="*/ 966 h 966"/>
                  <a:gd name="T24" fmla="*/ 541 w 1214"/>
                  <a:gd name="T25" fmla="*/ 822 h 966"/>
                  <a:gd name="T26" fmla="*/ 924 w 1214"/>
                  <a:gd name="T27" fmla="*/ 854 h 966"/>
                  <a:gd name="T28" fmla="*/ 1061 w 1214"/>
                  <a:gd name="T29" fmla="*/ 763 h 966"/>
                  <a:gd name="T30" fmla="*/ 1069 w 1214"/>
                  <a:gd name="T31" fmla="*/ 754 h 966"/>
                  <a:gd name="T32" fmla="*/ 790 w 1214"/>
                  <a:gd name="T33" fmla="*/ 470 h 966"/>
                  <a:gd name="T34" fmla="*/ 780 w 1214"/>
                  <a:gd name="T35" fmla="*/ 480 h 966"/>
                  <a:gd name="T36" fmla="*/ 776 w 1214"/>
                  <a:gd name="T37" fmla="*/ 485 h 966"/>
                  <a:gd name="T38" fmla="*/ 688 w 1214"/>
                  <a:gd name="T39" fmla="*/ 518 h 966"/>
                  <a:gd name="T40" fmla="*/ 641 w 1214"/>
                  <a:gd name="T41" fmla="*/ 510 h 966"/>
                  <a:gd name="T42" fmla="*/ 636 w 1214"/>
                  <a:gd name="T43" fmla="*/ 522 h 966"/>
                  <a:gd name="T44" fmla="*/ 470 w 1214"/>
                  <a:gd name="T45" fmla="*/ 711 h 966"/>
                  <a:gd name="T46" fmla="*/ 439 w 1214"/>
                  <a:gd name="T47" fmla="*/ 733 h 966"/>
                  <a:gd name="T48" fmla="*/ 192 w 1214"/>
                  <a:gd name="T49" fmla="*/ 834 h 966"/>
                  <a:gd name="T50" fmla="*/ 146 w 1214"/>
                  <a:gd name="T51" fmla="*/ 820 h 966"/>
                  <a:gd name="T52" fmla="*/ 149 w 1214"/>
                  <a:gd name="T53" fmla="*/ 756 h 966"/>
                  <a:gd name="T54" fmla="*/ 164 w 1214"/>
                  <a:gd name="T55" fmla="*/ 722 h 966"/>
                  <a:gd name="T56" fmla="*/ 330 w 1214"/>
                  <a:gd name="T57" fmla="*/ 533 h 966"/>
                  <a:gd name="T58" fmla="*/ 346 w 1214"/>
                  <a:gd name="T59" fmla="*/ 521 h 966"/>
                  <a:gd name="T60" fmla="*/ 391 w 1214"/>
                  <a:gd name="T61" fmla="*/ 660 h 966"/>
                  <a:gd name="T62" fmla="*/ 417 w 1214"/>
                  <a:gd name="T63" fmla="*/ 641 h 966"/>
                  <a:gd name="T64" fmla="*/ 565 w 1214"/>
                  <a:gd name="T65" fmla="*/ 480 h 966"/>
                  <a:gd name="T66" fmla="*/ 577 w 1214"/>
                  <a:gd name="T67" fmla="*/ 457 h 966"/>
                  <a:gd name="T68" fmla="*/ 561 w 1214"/>
                  <a:gd name="T69" fmla="*/ 415 h 966"/>
                  <a:gd name="T70" fmla="*/ 558 w 1214"/>
                  <a:gd name="T71" fmla="*/ 387 h 966"/>
                  <a:gd name="T72" fmla="*/ 596 w 1214"/>
                  <a:gd name="T73" fmla="*/ 295 h 966"/>
                  <a:gd name="T74" fmla="*/ 618 w 1214"/>
                  <a:gd name="T75" fmla="*/ 278 h 966"/>
                  <a:gd name="T76" fmla="*/ 679 w 1214"/>
                  <a:gd name="T77" fmla="*/ 258 h 966"/>
                  <a:gd name="T78" fmla="*/ 688 w 1214"/>
                  <a:gd name="T79" fmla="*/ 257 h 966"/>
                  <a:gd name="T80" fmla="*/ 781 w 1214"/>
                  <a:gd name="T81" fmla="*/ 296 h 966"/>
                  <a:gd name="T82" fmla="*/ 819 w 1214"/>
                  <a:gd name="T83" fmla="*/ 385 h 966"/>
                  <a:gd name="T84" fmla="*/ 790 w 1214"/>
                  <a:gd name="T85" fmla="*/ 470 h 9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14" h="966">
                    <a:moveTo>
                      <a:pt x="1069" y="754"/>
                    </a:moveTo>
                    <a:cubicBezTo>
                      <a:pt x="1080" y="743"/>
                      <a:pt x="1090" y="731"/>
                      <a:pt x="1099" y="719"/>
                    </a:cubicBezTo>
                    <a:cubicBezTo>
                      <a:pt x="1125" y="685"/>
                      <a:pt x="1145" y="649"/>
                      <a:pt x="1159" y="610"/>
                    </a:cubicBezTo>
                    <a:cubicBezTo>
                      <a:pt x="1214" y="461"/>
                      <a:pt x="1183" y="287"/>
                      <a:pt x="1063" y="166"/>
                    </a:cubicBezTo>
                    <a:cubicBezTo>
                      <a:pt x="899" y="1"/>
                      <a:pt x="632" y="0"/>
                      <a:pt x="466" y="164"/>
                    </a:cubicBezTo>
                    <a:cubicBezTo>
                      <a:pt x="411" y="220"/>
                      <a:pt x="374" y="286"/>
                      <a:pt x="356" y="357"/>
                    </a:cubicBezTo>
                    <a:cubicBezTo>
                      <a:pt x="320" y="378"/>
                      <a:pt x="284" y="402"/>
                      <a:pt x="249" y="429"/>
                    </a:cubicBezTo>
                    <a:cubicBezTo>
                      <a:pt x="160" y="498"/>
                      <a:pt x="88" y="581"/>
                      <a:pt x="47" y="661"/>
                    </a:cubicBezTo>
                    <a:cubicBezTo>
                      <a:pt x="10" y="733"/>
                      <a:pt x="0" y="798"/>
                      <a:pt x="16" y="851"/>
                    </a:cubicBezTo>
                    <a:cubicBezTo>
                      <a:pt x="21" y="870"/>
                      <a:pt x="30" y="887"/>
                      <a:pt x="42" y="902"/>
                    </a:cubicBezTo>
                    <a:cubicBezTo>
                      <a:pt x="53" y="916"/>
                      <a:pt x="70" y="932"/>
                      <a:pt x="94" y="944"/>
                    </a:cubicBezTo>
                    <a:cubicBezTo>
                      <a:pt x="118" y="957"/>
                      <a:pt x="150" y="966"/>
                      <a:pt x="192" y="966"/>
                    </a:cubicBezTo>
                    <a:cubicBezTo>
                      <a:pt x="293" y="966"/>
                      <a:pt x="423" y="912"/>
                      <a:pt x="541" y="822"/>
                    </a:cubicBezTo>
                    <a:cubicBezTo>
                      <a:pt x="657" y="894"/>
                      <a:pt x="800" y="905"/>
                      <a:pt x="924" y="854"/>
                    </a:cubicBezTo>
                    <a:cubicBezTo>
                      <a:pt x="974" y="833"/>
                      <a:pt x="1021" y="803"/>
                      <a:pt x="1061" y="763"/>
                    </a:cubicBezTo>
                    <a:cubicBezTo>
                      <a:pt x="1064" y="760"/>
                      <a:pt x="1066" y="757"/>
                      <a:pt x="1069" y="754"/>
                    </a:cubicBezTo>
                    <a:close/>
                    <a:moveTo>
                      <a:pt x="790" y="470"/>
                    </a:moveTo>
                    <a:cubicBezTo>
                      <a:pt x="787" y="473"/>
                      <a:pt x="784" y="477"/>
                      <a:pt x="780" y="480"/>
                    </a:cubicBezTo>
                    <a:cubicBezTo>
                      <a:pt x="779" y="482"/>
                      <a:pt x="777" y="483"/>
                      <a:pt x="776" y="485"/>
                    </a:cubicBezTo>
                    <a:cubicBezTo>
                      <a:pt x="752" y="506"/>
                      <a:pt x="721" y="518"/>
                      <a:pt x="688" y="518"/>
                    </a:cubicBezTo>
                    <a:cubicBezTo>
                      <a:pt x="672" y="518"/>
                      <a:pt x="656" y="515"/>
                      <a:pt x="641" y="510"/>
                    </a:cubicBezTo>
                    <a:cubicBezTo>
                      <a:pt x="640" y="514"/>
                      <a:pt x="638" y="518"/>
                      <a:pt x="636" y="522"/>
                    </a:cubicBezTo>
                    <a:cubicBezTo>
                      <a:pt x="603" y="584"/>
                      <a:pt x="543" y="653"/>
                      <a:pt x="470" y="711"/>
                    </a:cubicBezTo>
                    <a:cubicBezTo>
                      <a:pt x="460" y="718"/>
                      <a:pt x="450" y="726"/>
                      <a:pt x="439" y="733"/>
                    </a:cubicBezTo>
                    <a:cubicBezTo>
                      <a:pt x="352" y="795"/>
                      <a:pt x="258" y="834"/>
                      <a:pt x="192" y="834"/>
                    </a:cubicBezTo>
                    <a:cubicBezTo>
                      <a:pt x="170" y="834"/>
                      <a:pt x="152" y="829"/>
                      <a:pt x="146" y="820"/>
                    </a:cubicBezTo>
                    <a:cubicBezTo>
                      <a:pt x="139" y="811"/>
                      <a:pt x="138" y="789"/>
                      <a:pt x="149" y="756"/>
                    </a:cubicBezTo>
                    <a:cubicBezTo>
                      <a:pt x="153" y="746"/>
                      <a:pt x="158" y="734"/>
                      <a:pt x="164" y="722"/>
                    </a:cubicBezTo>
                    <a:cubicBezTo>
                      <a:pt x="197" y="659"/>
                      <a:pt x="257" y="590"/>
                      <a:pt x="330" y="533"/>
                    </a:cubicBezTo>
                    <a:cubicBezTo>
                      <a:pt x="336" y="529"/>
                      <a:pt x="341" y="525"/>
                      <a:pt x="346" y="521"/>
                    </a:cubicBezTo>
                    <a:cubicBezTo>
                      <a:pt x="353" y="569"/>
                      <a:pt x="367" y="616"/>
                      <a:pt x="391" y="660"/>
                    </a:cubicBezTo>
                    <a:cubicBezTo>
                      <a:pt x="400" y="654"/>
                      <a:pt x="409" y="647"/>
                      <a:pt x="417" y="641"/>
                    </a:cubicBezTo>
                    <a:cubicBezTo>
                      <a:pt x="480" y="591"/>
                      <a:pt x="532" y="534"/>
                      <a:pt x="565" y="480"/>
                    </a:cubicBezTo>
                    <a:cubicBezTo>
                      <a:pt x="570" y="472"/>
                      <a:pt x="574" y="464"/>
                      <a:pt x="577" y="457"/>
                    </a:cubicBezTo>
                    <a:cubicBezTo>
                      <a:pt x="569" y="444"/>
                      <a:pt x="564" y="430"/>
                      <a:pt x="561" y="415"/>
                    </a:cubicBezTo>
                    <a:cubicBezTo>
                      <a:pt x="559" y="406"/>
                      <a:pt x="558" y="397"/>
                      <a:pt x="558" y="387"/>
                    </a:cubicBezTo>
                    <a:cubicBezTo>
                      <a:pt x="558" y="353"/>
                      <a:pt x="571" y="320"/>
                      <a:pt x="596" y="295"/>
                    </a:cubicBezTo>
                    <a:cubicBezTo>
                      <a:pt x="603" y="289"/>
                      <a:pt x="610" y="283"/>
                      <a:pt x="618" y="278"/>
                    </a:cubicBezTo>
                    <a:cubicBezTo>
                      <a:pt x="636" y="266"/>
                      <a:pt x="657" y="259"/>
                      <a:pt x="679" y="258"/>
                    </a:cubicBezTo>
                    <a:cubicBezTo>
                      <a:pt x="682" y="257"/>
                      <a:pt x="685" y="257"/>
                      <a:pt x="688" y="257"/>
                    </a:cubicBezTo>
                    <a:cubicBezTo>
                      <a:pt x="723" y="257"/>
                      <a:pt x="756" y="271"/>
                      <a:pt x="781" y="296"/>
                    </a:cubicBezTo>
                    <a:cubicBezTo>
                      <a:pt x="805" y="321"/>
                      <a:pt x="818" y="353"/>
                      <a:pt x="819" y="385"/>
                    </a:cubicBezTo>
                    <a:cubicBezTo>
                      <a:pt x="819" y="415"/>
                      <a:pt x="810" y="445"/>
                      <a:pt x="790" y="4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noProof="0">
                  <a:ln>
                    <a:noFill/>
                  </a:ln>
                  <a:solidFill>
                    <a:srgbClr val="000000"/>
                  </a:solidFill>
                  <a:effectLst/>
                  <a:uLnTx/>
                  <a:uFillTx/>
                  <a:latin typeface="Ubuntu" panose="020B0504030602030204" pitchFamily="34" charset="0"/>
                  <a:ea typeface="+mn-ea"/>
                  <a:cs typeface="+mn-cs"/>
                </a:endParaRPr>
              </a:p>
            </p:txBody>
          </p:sp>
        </p:grpSp>
      </p:grpSp>
      <p:grpSp>
        <p:nvGrpSpPr>
          <p:cNvPr id="22" name="Group 21">
            <a:extLst>
              <a:ext uri="{FF2B5EF4-FFF2-40B4-BE49-F238E27FC236}">
                <a16:creationId xmlns:a16="http://schemas.microsoft.com/office/drawing/2014/main" id="{DDC46076-2772-EC99-504C-34B4DECA3337}"/>
              </a:ext>
            </a:extLst>
          </p:cNvPr>
          <p:cNvGrpSpPr/>
          <p:nvPr/>
        </p:nvGrpSpPr>
        <p:grpSpPr>
          <a:xfrm>
            <a:off x="159234" y="4853338"/>
            <a:ext cx="2640237" cy="520776"/>
            <a:chOff x="320133" y="4797658"/>
            <a:chExt cx="2640237" cy="520776"/>
          </a:xfrm>
        </p:grpSpPr>
        <p:sp>
          <p:nvSpPr>
            <p:cNvPr id="23" name="Rectangle: Top Corners Snipped 46">
              <a:extLst>
                <a:ext uri="{FF2B5EF4-FFF2-40B4-BE49-F238E27FC236}">
                  <a16:creationId xmlns:a16="http://schemas.microsoft.com/office/drawing/2014/main" id="{59940450-C4F2-EB15-38CF-71338670A0AD}"/>
                </a:ext>
              </a:extLst>
            </p:cNvPr>
            <p:cNvSpPr>
              <a:spLocks/>
            </p:cNvSpPr>
            <p:nvPr/>
          </p:nvSpPr>
          <p:spPr>
            <a:xfrm>
              <a:off x="781361" y="4900889"/>
              <a:ext cx="2179009" cy="309261"/>
            </a:xfrm>
            <a:prstGeom prst="rect">
              <a:avLst/>
            </a:prstGeom>
            <a:solidFill>
              <a:schemeClr val="accent2"/>
            </a:solid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prstClr val="white"/>
                  </a:solidFill>
                  <a:effectLst/>
                  <a:uLnTx/>
                  <a:uFillTx/>
                  <a:latin typeface="Ubuntu" panose="020B0504030602030204" pitchFamily="34" charset="0"/>
                  <a:ea typeface="+mn-ea"/>
                  <a:cs typeface="+mn-cs"/>
                </a:rPr>
                <a:t>     Impact</a:t>
              </a:r>
            </a:p>
          </p:txBody>
        </p:sp>
        <p:sp>
          <p:nvSpPr>
            <p:cNvPr id="24" name="Oval 23">
              <a:extLst>
                <a:ext uri="{FF2B5EF4-FFF2-40B4-BE49-F238E27FC236}">
                  <a16:creationId xmlns:a16="http://schemas.microsoft.com/office/drawing/2014/main" id="{F34EA9B7-F276-6103-2AD2-295DCE5B2CF1}"/>
                </a:ext>
              </a:extLst>
            </p:cNvPr>
            <p:cNvSpPr/>
            <p:nvPr/>
          </p:nvSpPr>
          <p:spPr>
            <a:xfrm>
              <a:off x="320133" y="4797658"/>
              <a:ext cx="520776" cy="520776"/>
            </a:xfrm>
            <a:prstGeom prst="ellipse">
              <a:avLst/>
            </a:prstGeom>
            <a:solidFill>
              <a:schemeClr val="accent2">
                <a:lumMod val="50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Ubuntu" panose="020B0504030602030204" pitchFamily="34" charset="0"/>
                <a:ea typeface="+mn-ea"/>
                <a:cs typeface="+mn-cs"/>
              </a:endParaRPr>
            </a:p>
          </p:txBody>
        </p:sp>
        <p:grpSp>
          <p:nvGrpSpPr>
            <p:cNvPr id="25" name="Group 24">
              <a:extLst>
                <a:ext uri="{FF2B5EF4-FFF2-40B4-BE49-F238E27FC236}">
                  <a16:creationId xmlns:a16="http://schemas.microsoft.com/office/drawing/2014/main" id="{7624D0A5-F53A-886C-F50F-09A4772D54ED}"/>
                </a:ext>
              </a:extLst>
            </p:cNvPr>
            <p:cNvGrpSpPr/>
            <p:nvPr/>
          </p:nvGrpSpPr>
          <p:grpSpPr>
            <a:xfrm>
              <a:off x="428545" y="4899759"/>
              <a:ext cx="315646" cy="316574"/>
              <a:chOff x="12988925" y="1597025"/>
              <a:chExt cx="6483350" cy="6502400"/>
            </a:xfrm>
            <a:solidFill>
              <a:schemeClr val="bg1"/>
            </a:solidFill>
          </p:grpSpPr>
          <p:sp>
            <p:nvSpPr>
              <p:cNvPr id="26" name="Freeform 135">
                <a:extLst>
                  <a:ext uri="{FF2B5EF4-FFF2-40B4-BE49-F238E27FC236}">
                    <a16:creationId xmlns:a16="http://schemas.microsoft.com/office/drawing/2014/main" id="{25310039-C290-3C8E-D5AE-CD04089EBA5D}"/>
                  </a:ext>
                </a:extLst>
              </p:cNvPr>
              <p:cNvSpPr>
                <a:spLocks/>
              </p:cNvSpPr>
              <p:nvPr/>
            </p:nvSpPr>
            <p:spPr bwMode="auto">
              <a:xfrm>
                <a:off x="12988925" y="2178050"/>
                <a:ext cx="2371725" cy="2667000"/>
              </a:xfrm>
              <a:custGeom>
                <a:avLst/>
                <a:gdLst>
                  <a:gd name="T0" fmla="*/ 966 w 1494"/>
                  <a:gd name="T1" fmla="*/ 1680 h 1680"/>
                  <a:gd name="T2" fmla="*/ 928 w 1494"/>
                  <a:gd name="T3" fmla="*/ 1680 h 1680"/>
                  <a:gd name="T4" fmla="*/ 850 w 1494"/>
                  <a:gd name="T5" fmla="*/ 1670 h 1680"/>
                  <a:gd name="T6" fmla="*/ 776 w 1494"/>
                  <a:gd name="T7" fmla="*/ 1650 h 1680"/>
                  <a:gd name="T8" fmla="*/ 704 w 1494"/>
                  <a:gd name="T9" fmla="*/ 1620 h 1680"/>
                  <a:gd name="T10" fmla="*/ 638 w 1494"/>
                  <a:gd name="T11" fmla="*/ 1582 h 1680"/>
                  <a:gd name="T12" fmla="*/ 576 w 1494"/>
                  <a:gd name="T13" fmla="*/ 1536 h 1680"/>
                  <a:gd name="T14" fmla="*/ 522 w 1494"/>
                  <a:gd name="T15" fmla="*/ 1484 h 1680"/>
                  <a:gd name="T16" fmla="*/ 474 w 1494"/>
                  <a:gd name="T17" fmla="*/ 1422 h 1680"/>
                  <a:gd name="T18" fmla="*/ 452 w 1494"/>
                  <a:gd name="T19" fmla="*/ 1390 h 1680"/>
                  <a:gd name="T20" fmla="*/ 406 w 1494"/>
                  <a:gd name="T21" fmla="*/ 1310 h 1680"/>
                  <a:gd name="T22" fmla="*/ 332 w 1494"/>
                  <a:gd name="T23" fmla="*/ 1168 h 1680"/>
                  <a:gd name="T24" fmla="*/ 264 w 1494"/>
                  <a:gd name="T25" fmla="*/ 1026 h 1680"/>
                  <a:gd name="T26" fmla="*/ 204 w 1494"/>
                  <a:gd name="T27" fmla="*/ 882 h 1680"/>
                  <a:gd name="T28" fmla="*/ 152 w 1494"/>
                  <a:gd name="T29" fmla="*/ 734 h 1680"/>
                  <a:gd name="T30" fmla="*/ 106 w 1494"/>
                  <a:gd name="T31" fmla="*/ 588 h 1680"/>
                  <a:gd name="T32" fmla="*/ 68 w 1494"/>
                  <a:gd name="T33" fmla="*/ 438 h 1680"/>
                  <a:gd name="T34" fmla="*/ 38 w 1494"/>
                  <a:gd name="T35" fmla="*/ 288 h 1680"/>
                  <a:gd name="T36" fmla="*/ 16 w 1494"/>
                  <a:gd name="T37" fmla="*/ 136 h 1680"/>
                  <a:gd name="T38" fmla="*/ 780 w 1494"/>
                  <a:gd name="T39" fmla="*/ 0 h 1680"/>
                  <a:gd name="T40" fmla="*/ 274 w 1494"/>
                  <a:gd name="T41" fmla="*/ 240 h 1680"/>
                  <a:gd name="T42" fmla="*/ 286 w 1494"/>
                  <a:gd name="T43" fmla="*/ 302 h 1680"/>
                  <a:gd name="T44" fmla="*/ 312 w 1494"/>
                  <a:gd name="T45" fmla="*/ 424 h 1680"/>
                  <a:gd name="T46" fmla="*/ 344 w 1494"/>
                  <a:gd name="T47" fmla="*/ 546 h 1680"/>
                  <a:gd name="T48" fmla="*/ 382 w 1494"/>
                  <a:gd name="T49" fmla="*/ 666 h 1680"/>
                  <a:gd name="T50" fmla="*/ 424 w 1494"/>
                  <a:gd name="T51" fmla="*/ 784 h 1680"/>
                  <a:gd name="T52" fmla="*/ 472 w 1494"/>
                  <a:gd name="T53" fmla="*/ 902 h 1680"/>
                  <a:gd name="T54" fmla="*/ 526 w 1494"/>
                  <a:gd name="T55" fmla="*/ 1020 h 1680"/>
                  <a:gd name="T56" fmla="*/ 584 w 1494"/>
                  <a:gd name="T57" fmla="*/ 1134 h 1680"/>
                  <a:gd name="T58" fmla="*/ 616 w 1494"/>
                  <a:gd name="T59" fmla="*/ 1192 h 1680"/>
                  <a:gd name="T60" fmla="*/ 658 w 1494"/>
                  <a:gd name="T61" fmla="*/ 1266 h 1680"/>
                  <a:gd name="T62" fmla="*/ 686 w 1494"/>
                  <a:gd name="T63" fmla="*/ 1304 h 1680"/>
                  <a:gd name="T64" fmla="*/ 716 w 1494"/>
                  <a:gd name="T65" fmla="*/ 1340 h 1680"/>
                  <a:gd name="T66" fmla="*/ 752 w 1494"/>
                  <a:gd name="T67" fmla="*/ 1368 h 1680"/>
                  <a:gd name="T68" fmla="*/ 790 w 1494"/>
                  <a:gd name="T69" fmla="*/ 1394 h 1680"/>
                  <a:gd name="T70" fmla="*/ 830 w 1494"/>
                  <a:gd name="T71" fmla="*/ 1414 h 1680"/>
                  <a:gd name="T72" fmla="*/ 874 w 1494"/>
                  <a:gd name="T73" fmla="*/ 1428 h 1680"/>
                  <a:gd name="T74" fmla="*/ 920 w 1494"/>
                  <a:gd name="T75" fmla="*/ 1438 h 1680"/>
                  <a:gd name="T76" fmla="*/ 966 w 1494"/>
                  <a:gd name="T77" fmla="*/ 1440 h 1680"/>
                  <a:gd name="T78" fmla="*/ 1494 w 1494"/>
                  <a:gd name="T79" fmla="*/ 1680 h 1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94" h="1680">
                    <a:moveTo>
                      <a:pt x="1494" y="1680"/>
                    </a:moveTo>
                    <a:lnTo>
                      <a:pt x="966" y="1680"/>
                    </a:lnTo>
                    <a:lnTo>
                      <a:pt x="966" y="1680"/>
                    </a:lnTo>
                    <a:lnTo>
                      <a:pt x="928" y="1680"/>
                    </a:lnTo>
                    <a:lnTo>
                      <a:pt x="888" y="1676"/>
                    </a:lnTo>
                    <a:lnTo>
                      <a:pt x="850" y="1670"/>
                    </a:lnTo>
                    <a:lnTo>
                      <a:pt x="812" y="1660"/>
                    </a:lnTo>
                    <a:lnTo>
                      <a:pt x="776" y="1650"/>
                    </a:lnTo>
                    <a:lnTo>
                      <a:pt x="740" y="1636"/>
                    </a:lnTo>
                    <a:lnTo>
                      <a:pt x="704" y="1620"/>
                    </a:lnTo>
                    <a:lnTo>
                      <a:pt x="670" y="1602"/>
                    </a:lnTo>
                    <a:lnTo>
                      <a:pt x="638" y="1582"/>
                    </a:lnTo>
                    <a:lnTo>
                      <a:pt x="606" y="1560"/>
                    </a:lnTo>
                    <a:lnTo>
                      <a:pt x="576" y="1536"/>
                    </a:lnTo>
                    <a:lnTo>
                      <a:pt x="548" y="1510"/>
                    </a:lnTo>
                    <a:lnTo>
                      <a:pt x="522" y="1484"/>
                    </a:lnTo>
                    <a:lnTo>
                      <a:pt x="496" y="1454"/>
                    </a:lnTo>
                    <a:lnTo>
                      <a:pt x="474" y="1422"/>
                    </a:lnTo>
                    <a:lnTo>
                      <a:pt x="452" y="1390"/>
                    </a:lnTo>
                    <a:lnTo>
                      <a:pt x="452" y="1390"/>
                    </a:lnTo>
                    <a:lnTo>
                      <a:pt x="406" y="1310"/>
                    </a:lnTo>
                    <a:lnTo>
                      <a:pt x="406" y="1310"/>
                    </a:lnTo>
                    <a:lnTo>
                      <a:pt x="368" y="1238"/>
                    </a:lnTo>
                    <a:lnTo>
                      <a:pt x="332" y="1168"/>
                    </a:lnTo>
                    <a:lnTo>
                      <a:pt x="296" y="1098"/>
                    </a:lnTo>
                    <a:lnTo>
                      <a:pt x="264" y="1026"/>
                    </a:lnTo>
                    <a:lnTo>
                      <a:pt x="234" y="954"/>
                    </a:lnTo>
                    <a:lnTo>
                      <a:pt x="204" y="882"/>
                    </a:lnTo>
                    <a:lnTo>
                      <a:pt x="178" y="808"/>
                    </a:lnTo>
                    <a:lnTo>
                      <a:pt x="152" y="734"/>
                    </a:lnTo>
                    <a:lnTo>
                      <a:pt x="128" y="662"/>
                    </a:lnTo>
                    <a:lnTo>
                      <a:pt x="106" y="588"/>
                    </a:lnTo>
                    <a:lnTo>
                      <a:pt x="86" y="512"/>
                    </a:lnTo>
                    <a:lnTo>
                      <a:pt x="68" y="438"/>
                    </a:lnTo>
                    <a:lnTo>
                      <a:pt x="52" y="362"/>
                    </a:lnTo>
                    <a:lnTo>
                      <a:pt x="38" y="288"/>
                    </a:lnTo>
                    <a:lnTo>
                      <a:pt x="26" y="212"/>
                    </a:lnTo>
                    <a:lnTo>
                      <a:pt x="16" y="136"/>
                    </a:lnTo>
                    <a:lnTo>
                      <a:pt x="0" y="0"/>
                    </a:lnTo>
                    <a:lnTo>
                      <a:pt x="780" y="0"/>
                    </a:lnTo>
                    <a:lnTo>
                      <a:pt x="780" y="240"/>
                    </a:lnTo>
                    <a:lnTo>
                      <a:pt x="274" y="240"/>
                    </a:lnTo>
                    <a:lnTo>
                      <a:pt x="274" y="240"/>
                    </a:lnTo>
                    <a:lnTo>
                      <a:pt x="286" y="302"/>
                    </a:lnTo>
                    <a:lnTo>
                      <a:pt x="298" y="364"/>
                    </a:lnTo>
                    <a:lnTo>
                      <a:pt x="312" y="424"/>
                    </a:lnTo>
                    <a:lnTo>
                      <a:pt x="328" y="484"/>
                    </a:lnTo>
                    <a:lnTo>
                      <a:pt x="344" y="546"/>
                    </a:lnTo>
                    <a:lnTo>
                      <a:pt x="362" y="606"/>
                    </a:lnTo>
                    <a:lnTo>
                      <a:pt x="382" y="666"/>
                    </a:lnTo>
                    <a:lnTo>
                      <a:pt x="402" y="726"/>
                    </a:lnTo>
                    <a:lnTo>
                      <a:pt x="424" y="784"/>
                    </a:lnTo>
                    <a:lnTo>
                      <a:pt x="448" y="844"/>
                    </a:lnTo>
                    <a:lnTo>
                      <a:pt x="472" y="902"/>
                    </a:lnTo>
                    <a:lnTo>
                      <a:pt x="498" y="962"/>
                    </a:lnTo>
                    <a:lnTo>
                      <a:pt x="526" y="1020"/>
                    </a:lnTo>
                    <a:lnTo>
                      <a:pt x="554" y="1078"/>
                    </a:lnTo>
                    <a:lnTo>
                      <a:pt x="584" y="1134"/>
                    </a:lnTo>
                    <a:lnTo>
                      <a:pt x="616" y="1192"/>
                    </a:lnTo>
                    <a:lnTo>
                      <a:pt x="616" y="1192"/>
                    </a:lnTo>
                    <a:lnTo>
                      <a:pt x="658" y="1266"/>
                    </a:lnTo>
                    <a:lnTo>
                      <a:pt x="658" y="1266"/>
                    </a:lnTo>
                    <a:lnTo>
                      <a:pt x="672" y="1286"/>
                    </a:lnTo>
                    <a:lnTo>
                      <a:pt x="686" y="1304"/>
                    </a:lnTo>
                    <a:lnTo>
                      <a:pt x="700" y="1322"/>
                    </a:lnTo>
                    <a:lnTo>
                      <a:pt x="716" y="1340"/>
                    </a:lnTo>
                    <a:lnTo>
                      <a:pt x="734" y="1354"/>
                    </a:lnTo>
                    <a:lnTo>
                      <a:pt x="752" y="1368"/>
                    </a:lnTo>
                    <a:lnTo>
                      <a:pt x="770" y="1382"/>
                    </a:lnTo>
                    <a:lnTo>
                      <a:pt x="790" y="1394"/>
                    </a:lnTo>
                    <a:lnTo>
                      <a:pt x="810" y="1404"/>
                    </a:lnTo>
                    <a:lnTo>
                      <a:pt x="830" y="1414"/>
                    </a:lnTo>
                    <a:lnTo>
                      <a:pt x="852" y="1422"/>
                    </a:lnTo>
                    <a:lnTo>
                      <a:pt x="874" y="1428"/>
                    </a:lnTo>
                    <a:lnTo>
                      <a:pt x="898" y="1434"/>
                    </a:lnTo>
                    <a:lnTo>
                      <a:pt x="920" y="1438"/>
                    </a:lnTo>
                    <a:lnTo>
                      <a:pt x="944" y="1440"/>
                    </a:lnTo>
                    <a:lnTo>
                      <a:pt x="966" y="1440"/>
                    </a:lnTo>
                    <a:lnTo>
                      <a:pt x="1494" y="1440"/>
                    </a:lnTo>
                    <a:lnTo>
                      <a:pt x="1494" y="1680"/>
                    </a:lnTo>
                    <a:lnTo>
                      <a:pt x="1494" y="168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Ubuntu" panose="020B0504030602030204" pitchFamily="34" charset="0"/>
                  <a:ea typeface="+mn-ea"/>
                  <a:cs typeface="+mn-cs"/>
                </a:endParaRPr>
              </a:p>
            </p:txBody>
          </p:sp>
          <p:sp>
            <p:nvSpPr>
              <p:cNvPr id="27" name="Freeform 136">
                <a:extLst>
                  <a:ext uri="{FF2B5EF4-FFF2-40B4-BE49-F238E27FC236}">
                    <a16:creationId xmlns:a16="http://schemas.microsoft.com/office/drawing/2014/main" id="{F18BCA72-81EC-98D1-2619-A9942BDB6207}"/>
                  </a:ext>
                </a:extLst>
              </p:cNvPr>
              <p:cNvSpPr>
                <a:spLocks/>
              </p:cNvSpPr>
              <p:nvPr/>
            </p:nvSpPr>
            <p:spPr bwMode="auto">
              <a:xfrm>
                <a:off x="13931900" y="1597025"/>
                <a:ext cx="4597400" cy="4759325"/>
              </a:xfrm>
              <a:custGeom>
                <a:avLst/>
                <a:gdLst>
                  <a:gd name="T0" fmla="*/ 2896 w 2896"/>
                  <a:gd name="T1" fmla="*/ 142 h 2998"/>
                  <a:gd name="T2" fmla="*/ 2716 w 2896"/>
                  <a:gd name="T3" fmla="*/ 110 h 2998"/>
                  <a:gd name="T4" fmla="*/ 2356 w 2896"/>
                  <a:gd name="T5" fmla="*/ 56 h 2998"/>
                  <a:gd name="T6" fmla="*/ 1994 w 2896"/>
                  <a:gd name="T7" fmla="*/ 20 h 2998"/>
                  <a:gd name="T8" fmla="*/ 1630 w 2896"/>
                  <a:gd name="T9" fmla="*/ 2 h 2998"/>
                  <a:gd name="T10" fmla="*/ 1266 w 2896"/>
                  <a:gd name="T11" fmla="*/ 2 h 2998"/>
                  <a:gd name="T12" fmla="*/ 902 w 2896"/>
                  <a:gd name="T13" fmla="*/ 20 h 2998"/>
                  <a:gd name="T14" fmla="*/ 540 w 2896"/>
                  <a:gd name="T15" fmla="*/ 56 h 2998"/>
                  <a:gd name="T16" fmla="*/ 180 w 2896"/>
                  <a:gd name="T17" fmla="*/ 110 h 2998"/>
                  <a:gd name="T18" fmla="*/ 0 w 2896"/>
                  <a:gd name="T19" fmla="*/ 142 h 2998"/>
                  <a:gd name="T20" fmla="*/ 2 w 2896"/>
                  <a:gd name="T21" fmla="*/ 222 h 2998"/>
                  <a:gd name="T22" fmla="*/ 12 w 2896"/>
                  <a:gd name="T23" fmla="*/ 382 h 2998"/>
                  <a:gd name="T24" fmla="*/ 36 w 2896"/>
                  <a:gd name="T25" fmla="*/ 542 h 2998"/>
                  <a:gd name="T26" fmla="*/ 68 w 2896"/>
                  <a:gd name="T27" fmla="*/ 702 h 2998"/>
                  <a:gd name="T28" fmla="*/ 110 w 2896"/>
                  <a:gd name="T29" fmla="*/ 858 h 2998"/>
                  <a:gd name="T30" fmla="*/ 164 w 2896"/>
                  <a:gd name="T31" fmla="*/ 1012 h 2998"/>
                  <a:gd name="T32" fmla="*/ 226 w 2896"/>
                  <a:gd name="T33" fmla="*/ 1164 h 2998"/>
                  <a:gd name="T34" fmla="*/ 296 w 2896"/>
                  <a:gd name="T35" fmla="*/ 1310 h 2998"/>
                  <a:gd name="T36" fmla="*/ 376 w 2896"/>
                  <a:gd name="T37" fmla="*/ 1452 h 2998"/>
                  <a:gd name="T38" fmla="*/ 464 w 2896"/>
                  <a:gd name="T39" fmla="*/ 1590 h 2998"/>
                  <a:gd name="T40" fmla="*/ 560 w 2896"/>
                  <a:gd name="T41" fmla="*/ 1720 h 2998"/>
                  <a:gd name="T42" fmla="*/ 664 w 2896"/>
                  <a:gd name="T43" fmla="*/ 1844 h 2998"/>
                  <a:gd name="T44" fmla="*/ 774 w 2896"/>
                  <a:gd name="T45" fmla="*/ 1960 h 2998"/>
                  <a:gd name="T46" fmla="*/ 890 w 2896"/>
                  <a:gd name="T47" fmla="*/ 2070 h 2998"/>
                  <a:gd name="T48" fmla="*/ 1012 w 2896"/>
                  <a:gd name="T49" fmla="*/ 2168 h 2998"/>
                  <a:gd name="T50" fmla="*/ 1142 w 2896"/>
                  <a:gd name="T51" fmla="*/ 2258 h 2998"/>
                  <a:gd name="T52" fmla="*/ 1208 w 2896"/>
                  <a:gd name="T53" fmla="*/ 2998 h 2998"/>
                  <a:gd name="T54" fmla="*/ 1688 w 2896"/>
                  <a:gd name="T55" fmla="*/ 2298 h 2998"/>
                  <a:gd name="T56" fmla="*/ 1754 w 2896"/>
                  <a:gd name="T57" fmla="*/ 2258 h 2998"/>
                  <a:gd name="T58" fmla="*/ 1884 w 2896"/>
                  <a:gd name="T59" fmla="*/ 2168 h 2998"/>
                  <a:gd name="T60" fmla="*/ 2006 w 2896"/>
                  <a:gd name="T61" fmla="*/ 2070 h 2998"/>
                  <a:gd name="T62" fmla="*/ 2122 w 2896"/>
                  <a:gd name="T63" fmla="*/ 1960 h 2998"/>
                  <a:gd name="T64" fmla="*/ 2232 w 2896"/>
                  <a:gd name="T65" fmla="*/ 1844 h 2998"/>
                  <a:gd name="T66" fmla="*/ 2336 w 2896"/>
                  <a:gd name="T67" fmla="*/ 1720 h 2998"/>
                  <a:gd name="T68" fmla="*/ 2432 w 2896"/>
                  <a:gd name="T69" fmla="*/ 1590 h 2998"/>
                  <a:gd name="T70" fmla="*/ 2520 w 2896"/>
                  <a:gd name="T71" fmla="*/ 1452 h 2998"/>
                  <a:gd name="T72" fmla="*/ 2600 w 2896"/>
                  <a:gd name="T73" fmla="*/ 1310 h 2998"/>
                  <a:gd name="T74" fmla="*/ 2670 w 2896"/>
                  <a:gd name="T75" fmla="*/ 1164 h 2998"/>
                  <a:gd name="T76" fmla="*/ 2732 w 2896"/>
                  <a:gd name="T77" fmla="*/ 1012 h 2998"/>
                  <a:gd name="T78" fmla="*/ 2786 w 2896"/>
                  <a:gd name="T79" fmla="*/ 858 h 2998"/>
                  <a:gd name="T80" fmla="*/ 2828 w 2896"/>
                  <a:gd name="T81" fmla="*/ 702 h 2998"/>
                  <a:gd name="T82" fmla="*/ 2860 w 2896"/>
                  <a:gd name="T83" fmla="*/ 542 h 2998"/>
                  <a:gd name="T84" fmla="*/ 2884 w 2896"/>
                  <a:gd name="T85" fmla="*/ 382 h 2998"/>
                  <a:gd name="T86" fmla="*/ 2894 w 2896"/>
                  <a:gd name="T87" fmla="*/ 222 h 2998"/>
                  <a:gd name="T88" fmla="*/ 2896 w 2896"/>
                  <a:gd name="T89" fmla="*/ 142 h 29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896" h="2998">
                    <a:moveTo>
                      <a:pt x="2896" y="142"/>
                    </a:moveTo>
                    <a:lnTo>
                      <a:pt x="2896" y="142"/>
                    </a:lnTo>
                    <a:lnTo>
                      <a:pt x="2896" y="142"/>
                    </a:lnTo>
                    <a:lnTo>
                      <a:pt x="2716" y="110"/>
                    </a:lnTo>
                    <a:lnTo>
                      <a:pt x="2536" y="80"/>
                    </a:lnTo>
                    <a:lnTo>
                      <a:pt x="2356" y="56"/>
                    </a:lnTo>
                    <a:lnTo>
                      <a:pt x="2174" y="36"/>
                    </a:lnTo>
                    <a:lnTo>
                      <a:pt x="1994" y="20"/>
                    </a:lnTo>
                    <a:lnTo>
                      <a:pt x="1812" y="8"/>
                    </a:lnTo>
                    <a:lnTo>
                      <a:pt x="1630" y="2"/>
                    </a:lnTo>
                    <a:lnTo>
                      <a:pt x="1448" y="0"/>
                    </a:lnTo>
                    <a:lnTo>
                      <a:pt x="1266" y="2"/>
                    </a:lnTo>
                    <a:lnTo>
                      <a:pt x="1084" y="8"/>
                    </a:lnTo>
                    <a:lnTo>
                      <a:pt x="902" y="20"/>
                    </a:lnTo>
                    <a:lnTo>
                      <a:pt x="722" y="36"/>
                    </a:lnTo>
                    <a:lnTo>
                      <a:pt x="540" y="56"/>
                    </a:lnTo>
                    <a:lnTo>
                      <a:pt x="360" y="80"/>
                    </a:lnTo>
                    <a:lnTo>
                      <a:pt x="180" y="110"/>
                    </a:lnTo>
                    <a:lnTo>
                      <a:pt x="0" y="142"/>
                    </a:lnTo>
                    <a:lnTo>
                      <a:pt x="0" y="142"/>
                    </a:lnTo>
                    <a:lnTo>
                      <a:pt x="0" y="142"/>
                    </a:lnTo>
                    <a:lnTo>
                      <a:pt x="2" y="222"/>
                    </a:lnTo>
                    <a:lnTo>
                      <a:pt x="6" y="302"/>
                    </a:lnTo>
                    <a:lnTo>
                      <a:pt x="12" y="382"/>
                    </a:lnTo>
                    <a:lnTo>
                      <a:pt x="22" y="462"/>
                    </a:lnTo>
                    <a:lnTo>
                      <a:pt x="36" y="542"/>
                    </a:lnTo>
                    <a:lnTo>
                      <a:pt x="50" y="622"/>
                    </a:lnTo>
                    <a:lnTo>
                      <a:pt x="68" y="702"/>
                    </a:lnTo>
                    <a:lnTo>
                      <a:pt x="88" y="780"/>
                    </a:lnTo>
                    <a:lnTo>
                      <a:pt x="110" y="858"/>
                    </a:lnTo>
                    <a:lnTo>
                      <a:pt x="136" y="936"/>
                    </a:lnTo>
                    <a:lnTo>
                      <a:pt x="164" y="1012"/>
                    </a:lnTo>
                    <a:lnTo>
                      <a:pt x="194" y="1088"/>
                    </a:lnTo>
                    <a:lnTo>
                      <a:pt x="226" y="1164"/>
                    </a:lnTo>
                    <a:lnTo>
                      <a:pt x="260" y="1238"/>
                    </a:lnTo>
                    <a:lnTo>
                      <a:pt x="296" y="1310"/>
                    </a:lnTo>
                    <a:lnTo>
                      <a:pt x="336" y="1382"/>
                    </a:lnTo>
                    <a:lnTo>
                      <a:pt x="376" y="1452"/>
                    </a:lnTo>
                    <a:lnTo>
                      <a:pt x="420" y="1522"/>
                    </a:lnTo>
                    <a:lnTo>
                      <a:pt x="464" y="1590"/>
                    </a:lnTo>
                    <a:lnTo>
                      <a:pt x="512" y="1656"/>
                    </a:lnTo>
                    <a:lnTo>
                      <a:pt x="560" y="1720"/>
                    </a:lnTo>
                    <a:lnTo>
                      <a:pt x="610" y="1784"/>
                    </a:lnTo>
                    <a:lnTo>
                      <a:pt x="664" y="1844"/>
                    </a:lnTo>
                    <a:lnTo>
                      <a:pt x="718" y="1904"/>
                    </a:lnTo>
                    <a:lnTo>
                      <a:pt x="774" y="1960"/>
                    </a:lnTo>
                    <a:lnTo>
                      <a:pt x="830" y="2016"/>
                    </a:lnTo>
                    <a:lnTo>
                      <a:pt x="890" y="2070"/>
                    </a:lnTo>
                    <a:lnTo>
                      <a:pt x="950" y="2120"/>
                    </a:lnTo>
                    <a:lnTo>
                      <a:pt x="1012" y="2168"/>
                    </a:lnTo>
                    <a:lnTo>
                      <a:pt x="1076" y="2214"/>
                    </a:lnTo>
                    <a:lnTo>
                      <a:pt x="1142" y="2258"/>
                    </a:lnTo>
                    <a:lnTo>
                      <a:pt x="1208" y="2298"/>
                    </a:lnTo>
                    <a:lnTo>
                      <a:pt x="1208" y="2998"/>
                    </a:lnTo>
                    <a:lnTo>
                      <a:pt x="1688" y="2998"/>
                    </a:lnTo>
                    <a:lnTo>
                      <a:pt x="1688" y="2298"/>
                    </a:lnTo>
                    <a:lnTo>
                      <a:pt x="1688" y="2298"/>
                    </a:lnTo>
                    <a:lnTo>
                      <a:pt x="1754" y="2258"/>
                    </a:lnTo>
                    <a:lnTo>
                      <a:pt x="1820" y="2214"/>
                    </a:lnTo>
                    <a:lnTo>
                      <a:pt x="1884" y="2168"/>
                    </a:lnTo>
                    <a:lnTo>
                      <a:pt x="1946" y="2120"/>
                    </a:lnTo>
                    <a:lnTo>
                      <a:pt x="2006" y="2070"/>
                    </a:lnTo>
                    <a:lnTo>
                      <a:pt x="2066" y="2016"/>
                    </a:lnTo>
                    <a:lnTo>
                      <a:pt x="2122" y="1960"/>
                    </a:lnTo>
                    <a:lnTo>
                      <a:pt x="2178" y="1904"/>
                    </a:lnTo>
                    <a:lnTo>
                      <a:pt x="2232" y="1844"/>
                    </a:lnTo>
                    <a:lnTo>
                      <a:pt x="2286" y="1784"/>
                    </a:lnTo>
                    <a:lnTo>
                      <a:pt x="2336" y="1720"/>
                    </a:lnTo>
                    <a:lnTo>
                      <a:pt x="2384" y="1656"/>
                    </a:lnTo>
                    <a:lnTo>
                      <a:pt x="2432" y="1590"/>
                    </a:lnTo>
                    <a:lnTo>
                      <a:pt x="2476" y="1522"/>
                    </a:lnTo>
                    <a:lnTo>
                      <a:pt x="2520" y="1452"/>
                    </a:lnTo>
                    <a:lnTo>
                      <a:pt x="2560" y="1382"/>
                    </a:lnTo>
                    <a:lnTo>
                      <a:pt x="2600" y="1310"/>
                    </a:lnTo>
                    <a:lnTo>
                      <a:pt x="2636" y="1238"/>
                    </a:lnTo>
                    <a:lnTo>
                      <a:pt x="2670" y="1164"/>
                    </a:lnTo>
                    <a:lnTo>
                      <a:pt x="2702" y="1088"/>
                    </a:lnTo>
                    <a:lnTo>
                      <a:pt x="2732" y="1012"/>
                    </a:lnTo>
                    <a:lnTo>
                      <a:pt x="2760" y="936"/>
                    </a:lnTo>
                    <a:lnTo>
                      <a:pt x="2786" y="858"/>
                    </a:lnTo>
                    <a:lnTo>
                      <a:pt x="2808" y="780"/>
                    </a:lnTo>
                    <a:lnTo>
                      <a:pt x="2828" y="702"/>
                    </a:lnTo>
                    <a:lnTo>
                      <a:pt x="2846" y="622"/>
                    </a:lnTo>
                    <a:lnTo>
                      <a:pt x="2860" y="542"/>
                    </a:lnTo>
                    <a:lnTo>
                      <a:pt x="2874" y="462"/>
                    </a:lnTo>
                    <a:lnTo>
                      <a:pt x="2884" y="382"/>
                    </a:lnTo>
                    <a:lnTo>
                      <a:pt x="2890" y="302"/>
                    </a:lnTo>
                    <a:lnTo>
                      <a:pt x="2894" y="222"/>
                    </a:lnTo>
                    <a:lnTo>
                      <a:pt x="2896" y="142"/>
                    </a:lnTo>
                    <a:lnTo>
                      <a:pt x="2896" y="142"/>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Ubuntu" panose="020B0504030602030204" pitchFamily="34" charset="0"/>
                  <a:ea typeface="+mn-ea"/>
                  <a:cs typeface="+mn-cs"/>
                </a:endParaRPr>
              </a:p>
            </p:txBody>
          </p:sp>
          <p:sp>
            <p:nvSpPr>
              <p:cNvPr id="28" name="Freeform 137">
                <a:extLst>
                  <a:ext uri="{FF2B5EF4-FFF2-40B4-BE49-F238E27FC236}">
                    <a16:creationId xmlns:a16="http://schemas.microsoft.com/office/drawing/2014/main" id="{C6B40EBE-EA0A-C76C-E179-47549C5B7D4D}"/>
                  </a:ext>
                </a:extLst>
              </p:cNvPr>
              <p:cNvSpPr>
                <a:spLocks/>
              </p:cNvSpPr>
              <p:nvPr/>
            </p:nvSpPr>
            <p:spPr bwMode="auto">
              <a:xfrm>
                <a:off x="17097375" y="2178050"/>
                <a:ext cx="2374900" cy="2667000"/>
              </a:xfrm>
              <a:custGeom>
                <a:avLst/>
                <a:gdLst>
                  <a:gd name="T0" fmla="*/ 0 w 1496"/>
                  <a:gd name="T1" fmla="*/ 1680 h 1680"/>
                  <a:gd name="T2" fmla="*/ 530 w 1496"/>
                  <a:gd name="T3" fmla="*/ 1440 h 1680"/>
                  <a:gd name="T4" fmla="*/ 552 w 1496"/>
                  <a:gd name="T5" fmla="*/ 1440 h 1680"/>
                  <a:gd name="T6" fmla="*/ 598 w 1496"/>
                  <a:gd name="T7" fmla="*/ 1434 h 1680"/>
                  <a:gd name="T8" fmla="*/ 644 w 1496"/>
                  <a:gd name="T9" fmla="*/ 1422 h 1680"/>
                  <a:gd name="T10" fmla="*/ 686 w 1496"/>
                  <a:gd name="T11" fmla="*/ 1404 h 1680"/>
                  <a:gd name="T12" fmla="*/ 726 w 1496"/>
                  <a:gd name="T13" fmla="*/ 1382 h 1680"/>
                  <a:gd name="T14" fmla="*/ 762 w 1496"/>
                  <a:gd name="T15" fmla="*/ 1354 h 1680"/>
                  <a:gd name="T16" fmla="*/ 796 w 1496"/>
                  <a:gd name="T17" fmla="*/ 1322 h 1680"/>
                  <a:gd name="T18" fmla="*/ 824 w 1496"/>
                  <a:gd name="T19" fmla="*/ 1286 h 1680"/>
                  <a:gd name="T20" fmla="*/ 838 w 1496"/>
                  <a:gd name="T21" fmla="*/ 1266 h 1680"/>
                  <a:gd name="T22" fmla="*/ 880 w 1496"/>
                  <a:gd name="T23" fmla="*/ 1192 h 1680"/>
                  <a:gd name="T24" fmla="*/ 942 w 1496"/>
                  <a:gd name="T25" fmla="*/ 1078 h 1680"/>
                  <a:gd name="T26" fmla="*/ 998 w 1496"/>
                  <a:gd name="T27" fmla="*/ 962 h 1680"/>
                  <a:gd name="T28" fmla="*/ 1048 w 1496"/>
                  <a:gd name="T29" fmla="*/ 844 h 1680"/>
                  <a:gd name="T30" fmla="*/ 1094 w 1496"/>
                  <a:gd name="T31" fmla="*/ 726 h 1680"/>
                  <a:gd name="T32" fmla="*/ 1134 w 1496"/>
                  <a:gd name="T33" fmla="*/ 606 h 1680"/>
                  <a:gd name="T34" fmla="*/ 1168 w 1496"/>
                  <a:gd name="T35" fmla="*/ 484 h 1680"/>
                  <a:gd name="T36" fmla="*/ 1198 w 1496"/>
                  <a:gd name="T37" fmla="*/ 364 h 1680"/>
                  <a:gd name="T38" fmla="*/ 1222 w 1496"/>
                  <a:gd name="T39" fmla="*/ 240 h 1680"/>
                  <a:gd name="T40" fmla="*/ 716 w 1496"/>
                  <a:gd name="T41" fmla="*/ 0 h 1680"/>
                  <a:gd name="T42" fmla="*/ 1480 w 1496"/>
                  <a:gd name="T43" fmla="*/ 136 h 1680"/>
                  <a:gd name="T44" fmla="*/ 1470 w 1496"/>
                  <a:gd name="T45" fmla="*/ 212 h 1680"/>
                  <a:gd name="T46" fmla="*/ 1444 w 1496"/>
                  <a:gd name="T47" fmla="*/ 362 h 1680"/>
                  <a:gd name="T48" fmla="*/ 1410 w 1496"/>
                  <a:gd name="T49" fmla="*/ 512 h 1680"/>
                  <a:gd name="T50" fmla="*/ 1368 w 1496"/>
                  <a:gd name="T51" fmla="*/ 662 h 1680"/>
                  <a:gd name="T52" fmla="*/ 1318 w 1496"/>
                  <a:gd name="T53" fmla="*/ 808 h 1680"/>
                  <a:gd name="T54" fmla="*/ 1262 w 1496"/>
                  <a:gd name="T55" fmla="*/ 954 h 1680"/>
                  <a:gd name="T56" fmla="*/ 1200 w 1496"/>
                  <a:gd name="T57" fmla="*/ 1098 h 1680"/>
                  <a:gd name="T58" fmla="*/ 1128 w 1496"/>
                  <a:gd name="T59" fmla="*/ 1238 h 1680"/>
                  <a:gd name="T60" fmla="*/ 1090 w 1496"/>
                  <a:gd name="T61" fmla="*/ 1310 h 1680"/>
                  <a:gd name="T62" fmla="*/ 1044 w 1496"/>
                  <a:gd name="T63" fmla="*/ 1390 h 1680"/>
                  <a:gd name="T64" fmla="*/ 1000 w 1496"/>
                  <a:gd name="T65" fmla="*/ 1454 h 1680"/>
                  <a:gd name="T66" fmla="*/ 948 w 1496"/>
                  <a:gd name="T67" fmla="*/ 1510 h 1680"/>
                  <a:gd name="T68" fmla="*/ 890 w 1496"/>
                  <a:gd name="T69" fmla="*/ 1560 h 1680"/>
                  <a:gd name="T70" fmla="*/ 826 w 1496"/>
                  <a:gd name="T71" fmla="*/ 1602 h 1680"/>
                  <a:gd name="T72" fmla="*/ 756 w 1496"/>
                  <a:gd name="T73" fmla="*/ 1636 h 1680"/>
                  <a:gd name="T74" fmla="*/ 684 w 1496"/>
                  <a:gd name="T75" fmla="*/ 1660 h 1680"/>
                  <a:gd name="T76" fmla="*/ 608 w 1496"/>
                  <a:gd name="T77" fmla="*/ 1676 h 1680"/>
                  <a:gd name="T78" fmla="*/ 530 w 1496"/>
                  <a:gd name="T79" fmla="*/ 1680 h 1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96" h="1680">
                    <a:moveTo>
                      <a:pt x="530" y="1680"/>
                    </a:moveTo>
                    <a:lnTo>
                      <a:pt x="0" y="1680"/>
                    </a:lnTo>
                    <a:lnTo>
                      <a:pt x="0" y="1440"/>
                    </a:lnTo>
                    <a:lnTo>
                      <a:pt x="530" y="1440"/>
                    </a:lnTo>
                    <a:lnTo>
                      <a:pt x="530" y="1440"/>
                    </a:lnTo>
                    <a:lnTo>
                      <a:pt x="552" y="1440"/>
                    </a:lnTo>
                    <a:lnTo>
                      <a:pt x="576" y="1438"/>
                    </a:lnTo>
                    <a:lnTo>
                      <a:pt x="598" y="1434"/>
                    </a:lnTo>
                    <a:lnTo>
                      <a:pt x="622" y="1428"/>
                    </a:lnTo>
                    <a:lnTo>
                      <a:pt x="644" y="1422"/>
                    </a:lnTo>
                    <a:lnTo>
                      <a:pt x="666" y="1414"/>
                    </a:lnTo>
                    <a:lnTo>
                      <a:pt x="686" y="1404"/>
                    </a:lnTo>
                    <a:lnTo>
                      <a:pt x="706" y="1394"/>
                    </a:lnTo>
                    <a:lnTo>
                      <a:pt x="726" y="1382"/>
                    </a:lnTo>
                    <a:lnTo>
                      <a:pt x="744" y="1368"/>
                    </a:lnTo>
                    <a:lnTo>
                      <a:pt x="762" y="1354"/>
                    </a:lnTo>
                    <a:lnTo>
                      <a:pt x="780" y="1340"/>
                    </a:lnTo>
                    <a:lnTo>
                      <a:pt x="796" y="1322"/>
                    </a:lnTo>
                    <a:lnTo>
                      <a:pt x="810" y="1304"/>
                    </a:lnTo>
                    <a:lnTo>
                      <a:pt x="824" y="1286"/>
                    </a:lnTo>
                    <a:lnTo>
                      <a:pt x="838" y="1266"/>
                    </a:lnTo>
                    <a:lnTo>
                      <a:pt x="838" y="1266"/>
                    </a:lnTo>
                    <a:lnTo>
                      <a:pt x="880" y="1192"/>
                    </a:lnTo>
                    <a:lnTo>
                      <a:pt x="880" y="1192"/>
                    </a:lnTo>
                    <a:lnTo>
                      <a:pt x="912" y="1134"/>
                    </a:lnTo>
                    <a:lnTo>
                      <a:pt x="942" y="1078"/>
                    </a:lnTo>
                    <a:lnTo>
                      <a:pt x="970" y="1020"/>
                    </a:lnTo>
                    <a:lnTo>
                      <a:pt x="998" y="962"/>
                    </a:lnTo>
                    <a:lnTo>
                      <a:pt x="1024" y="902"/>
                    </a:lnTo>
                    <a:lnTo>
                      <a:pt x="1048" y="844"/>
                    </a:lnTo>
                    <a:lnTo>
                      <a:pt x="1072" y="784"/>
                    </a:lnTo>
                    <a:lnTo>
                      <a:pt x="1094" y="726"/>
                    </a:lnTo>
                    <a:lnTo>
                      <a:pt x="1114" y="666"/>
                    </a:lnTo>
                    <a:lnTo>
                      <a:pt x="1134" y="606"/>
                    </a:lnTo>
                    <a:lnTo>
                      <a:pt x="1152" y="546"/>
                    </a:lnTo>
                    <a:lnTo>
                      <a:pt x="1168" y="484"/>
                    </a:lnTo>
                    <a:lnTo>
                      <a:pt x="1184" y="424"/>
                    </a:lnTo>
                    <a:lnTo>
                      <a:pt x="1198" y="364"/>
                    </a:lnTo>
                    <a:lnTo>
                      <a:pt x="1210" y="302"/>
                    </a:lnTo>
                    <a:lnTo>
                      <a:pt x="1222" y="240"/>
                    </a:lnTo>
                    <a:lnTo>
                      <a:pt x="716" y="240"/>
                    </a:lnTo>
                    <a:lnTo>
                      <a:pt x="716" y="0"/>
                    </a:lnTo>
                    <a:lnTo>
                      <a:pt x="1496" y="0"/>
                    </a:lnTo>
                    <a:lnTo>
                      <a:pt x="1480" y="136"/>
                    </a:lnTo>
                    <a:lnTo>
                      <a:pt x="1480" y="136"/>
                    </a:lnTo>
                    <a:lnTo>
                      <a:pt x="1470" y="212"/>
                    </a:lnTo>
                    <a:lnTo>
                      <a:pt x="1458" y="288"/>
                    </a:lnTo>
                    <a:lnTo>
                      <a:pt x="1444" y="362"/>
                    </a:lnTo>
                    <a:lnTo>
                      <a:pt x="1428" y="438"/>
                    </a:lnTo>
                    <a:lnTo>
                      <a:pt x="1410" y="512"/>
                    </a:lnTo>
                    <a:lnTo>
                      <a:pt x="1390" y="588"/>
                    </a:lnTo>
                    <a:lnTo>
                      <a:pt x="1368" y="662"/>
                    </a:lnTo>
                    <a:lnTo>
                      <a:pt x="1344" y="734"/>
                    </a:lnTo>
                    <a:lnTo>
                      <a:pt x="1318" y="808"/>
                    </a:lnTo>
                    <a:lnTo>
                      <a:pt x="1292" y="882"/>
                    </a:lnTo>
                    <a:lnTo>
                      <a:pt x="1262" y="954"/>
                    </a:lnTo>
                    <a:lnTo>
                      <a:pt x="1232" y="1026"/>
                    </a:lnTo>
                    <a:lnTo>
                      <a:pt x="1200" y="1098"/>
                    </a:lnTo>
                    <a:lnTo>
                      <a:pt x="1164" y="1168"/>
                    </a:lnTo>
                    <a:lnTo>
                      <a:pt x="1128" y="1238"/>
                    </a:lnTo>
                    <a:lnTo>
                      <a:pt x="1090" y="1310"/>
                    </a:lnTo>
                    <a:lnTo>
                      <a:pt x="1090" y="1310"/>
                    </a:lnTo>
                    <a:lnTo>
                      <a:pt x="1044" y="1390"/>
                    </a:lnTo>
                    <a:lnTo>
                      <a:pt x="1044" y="1390"/>
                    </a:lnTo>
                    <a:lnTo>
                      <a:pt x="1022" y="1422"/>
                    </a:lnTo>
                    <a:lnTo>
                      <a:pt x="1000" y="1454"/>
                    </a:lnTo>
                    <a:lnTo>
                      <a:pt x="974" y="1484"/>
                    </a:lnTo>
                    <a:lnTo>
                      <a:pt x="948" y="1510"/>
                    </a:lnTo>
                    <a:lnTo>
                      <a:pt x="920" y="1536"/>
                    </a:lnTo>
                    <a:lnTo>
                      <a:pt x="890" y="1560"/>
                    </a:lnTo>
                    <a:lnTo>
                      <a:pt x="858" y="1582"/>
                    </a:lnTo>
                    <a:lnTo>
                      <a:pt x="826" y="1602"/>
                    </a:lnTo>
                    <a:lnTo>
                      <a:pt x="792" y="1620"/>
                    </a:lnTo>
                    <a:lnTo>
                      <a:pt x="756" y="1636"/>
                    </a:lnTo>
                    <a:lnTo>
                      <a:pt x="720" y="1650"/>
                    </a:lnTo>
                    <a:lnTo>
                      <a:pt x="684" y="1660"/>
                    </a:lnTo>
                    <a:lnTo>
                      <a:pt x="646" y="1670"/>
                    </a:lnTo>
                    <a:lnTo>
                      <a:pt x="608" y="1676"/>
                    </a:lnTo>
                    <a:lnTo>
                      <a:pt x="568" y="1680"/>
                    </a:lnTo>
                    <a:lnTo>
                      <a:pt x="530" y="1680"/>
                    </a:lnTo>
                    <a:lnTo>
                      <a:pt x="530" y="168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Ubuntu" panose="020B0504030602030204" pitchFamily="34" charset="0"/>
                  <a:ea typeface="+mn-ea"/>
                  <a:cs typeface="+mn-cs"/>
                </a:endParaRPr>
              </a:p>
            </p:txBody>
          </p:sp>
          <p:sp>
            <p:nvSpPr>
              <p:cNvPr id="29" name="Freeform 138">
                <a:extLst>
                  <a:ext uri="{FF2B5EF4-FFF2-40B4-BE49-F238E27FC236}">
                    <a16:creationId xmlns:a16="http://schemas.microsoft.com/office/drawing/2014/main" id="{C5E56B00-4E5D-E1FD-9CE7-552237673D24}"/>
                  </a:ext>
                </a:extLst>
              </p:cNvPr>
              <p:cNvSpPr>
                <a:spLocks/>
              </p:cNvSpPr>
              <p:nvPr/>
            </p:nvSpPr>
            <p:spPr bwMode="auto">
              <a:xfrm>
                <a:off x="16230600" y="1597025"/>
                <a:ext cx="2298700" cy="4759325"/>
              </a:xfrm>
              <a:custGeom>
                <a:avLst/>
                <a:gdLst>
                  <a:gd name="T0" fmla="*/ 1448 w 1448"/>
                  <a:gd name="T1" fmla="*/ 142 h 2998"/>
                  <a:gd name="T2" fmla="*/ 1448 w 1448"/>
                  <a:gd name="T3" fmla="*/ 142 h 2998"/>
                  <a:gd name="T4" fmla="*/ 1268 w 1448"/>
                  <a:gd name="T5" fmla="*/ 110 h 2998"/>
                  <a:gd name="T6" fmla="*/ 1088 w 1448"/>
                  <a:gd name="T7" fmla="*/ 80 h 2998"/>
                  <a:gd name="T8" fmla="*/ 908 w 1448"/>
                  <a:gd name="T9" fmla="*/ 56 h 2998"/>
                  <a:gd name="T10" fmla="*/ 726 w 1448"/>
                  <a:gd name="T11" fmla="*/ 36 h 2998"/>
                  <a:gd name="T12" fmla="*/ 546 w 1448"/>
                  <a:gd name="T13" fmla="*/ 20 h 2998"/>
                  <a:gd name="T14" fmla="*/ 364 w 1448"/>
                  <a:gd name="T15" fmla="*/ 8 h 2998"/>
                  <a:gd name="T16" fmla="*/ 182 w 1448"/>
                  <a:gd name="T17" fmla="*/ 2 h 2998"/>
                  <a:gd name="T18" fmla="*/ 0 w 1448"/>
                  <a:gd name="T19" fmla="*/ 0 h 2998"/>
                  <a:gd name="T20" fmla="*/ 0 w 1448"/>
                  <a:gd name="T21" fmla="*/ 2998 h 2998"/>
                  <a:gd name="T22" fmla="*/ 240 w 1448"/>
                  <a:gd name="T23" fmla="*/ 2998 h 2998"/>
                  <a:gd name="T24" fmla="*/ 240 w 1448"/>
                  <a:gd name="T25" fmla="*/ 2298 h 2998"/>
                  <a:gd name="T26" fmla="*/ 240 w 1448"/>
                  <a:gd name="T27" fmla="*/ 2298 h 2998"/>
                  <a:gd name="T28" fmla="*/ 306 w 1448"/>
                  <a:gd name="T29" fmla="*/ 2258 h 2998"/>
                  <a:gd name="T30" fmla="*/ 372 w 1448"/>
                  <a:gd name="T31" fmla="*/ 2214 h 2998"/>
                  <a:gd name="T32" fmla="*/ 436 w 1448"/>
                  <a:gd name="T33" fmla="*/ 2168 h 2998"/>
                  <a:gd name="T34" fmla="*/ 498 w 1448"/>
                  <a:gd name="T35" fmla="*/ 2120 h 2998"/>
                  <a:gd name="T36" fmla="*/ 558 w 1448"/>
                  <a:gd name="T37" fmla="*/ 2070 h 2998"/>
                  <a:gd name="T38" fmla="*/ 618 w 1448"/>
                  <a:gd name="T39" fmla="*/ 2016 h 2998"/>
                  <a:gd name="T40" fmla="*/ 674 w 1448"/>
                  <a:gd name="T41" fmla="*/ 1960 h 2998"/>
                  <a:gd name="T42" fmla="*/ 730 w 1448"/>
                  <a:gd name="T43" fmla="*/ 1904 h 2998"/>
                  <a:gd name="T44" fmla="*/ 784 w 1448"/>
                  <a:gd name="T45" fmla="*/ 1844 h 2998"/>
                  <a:gd name="T46" fmla="*/ 838 w 1448"/>
                  <a:gd name="T47" fmla="*/ 1784 h 2998"/>
                  <a:gd name="T48" fmla="*/ 888 w 1448"/>
                  <a:gd name="T49" fmla="*/ 1720 h 2998"/>
                  <a:gd name="T50" fmla="*/ 936 w 1448"/>
                  <a:gd name="T51" fmla="*/ 1656 h 2998"/>
                  <a:gd name="T52" fmla="*/ 984 w 1448"/>
                  <a:gd name="T53" fmla="*/ 1590 h 2998"/>
                  <a:gd name="T54" fmla="*/ 1028 w 1448"/>
                  <a:gd name="T55" fmla="*/ 1522 h 2998"/>
                  <a:gd name="T56" fmla="*/ 1072 w 1448"/>
                  <a:gd name="T57" fmla="*/ 1452 h 2998"/>
                  <a:gd name="T58" fmla="*/ 1112 w 1448"/>
                  <a:gd name="T59" fmla="*/ 1382 h 2998"/>
                  <a:gd name="T60" fmla="*/ 1152 w 1448"/>
                  <a:gd name="T61" fmla="*/ 1310 h 2998"/>
                  <a:gd name="T62" fmla="*/ 1188 w 1448"/>
                  <a:gd name="T63" fmla="*/ 1238 h 2998"/>
                  <a:gd name="T64" fmla="*/ 1222 w 1448"/>
                  <a:gd name="T65" fmla="*/ 1164 h 2998"/>
                  <a:gd name="T66" fmla="*/ 1254 w 1448"/>
                  <a:gd name="T67" fmla="*/ 1088 h 2998"/>
                  <a:gd name="T68" fmla="*/ 1284 w 1448"/>
                  <a:gd name="T69" fmla="*/ 1012 h 2998"/>
                  <a:gd name="T70" fmla="*/ 1312 w 1448"/>
                  <a:gd name="T71" fmla="*/ 936 h 2998"/>
                  <a:gd name="T72" fmla="*/ 1338 w 1448"/>
                  <a:gd name="T73" fmla="*/ 858 h 2998"/>
                  <a:gd name="T74" fmla="*/ 1360 w 1448"/>
                  <a:gd name="T75" fmla="*/ 780 h 2998"/>
                  <a:gd name="T76" fmla="*/ 1380 w 1448"/>
                  <a:gd name="T77" fmla="*/ 702 h 2998"/>
                  <a:gd name="T78" fmla="*/ 1398 w 1448"/>
                  <a:gd name="T79" fmla="*/ 622 h 2998"/>
                  <a:gd name="T80" fmla="*/ 1412 w 1448"/>
                  <a:gd name="T81" fmla="*/ 542 h 2998"/>
                  <a:gd name="T82" fmla="*/ 1426 w 1448"/>
                  <a:gd name="T83" fmla="*/ 462 h 2998"/>
                  <a:gd name="T84" fmla="*/ 1436 w 1448"/>
                  <a:gd name="T85" fmla="*/ 382 h 2998"/>
                  <a:gd name="T86" fmla="*/ 1442 w 1448"/>
                  <a:gd name="T87" fmla="*/ 302 h 2998"/>
                  <a:gd name="T88" fmla="*/ 1446 w 1448"/>
                  <a:gd name="T89" fmla="*/ 222 h 2998"/>
                  <a:gd name="T90" fmla="*/ 1448 w 1448"/>
                  <a:gd name="T91" fmla="*/ 142 h 2998"/>
                  <a:gd name="T92" fmla="*/ 1448 w 1448"/>
                  <a:gd name="T93" fmla="*/ 142 h 29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48" h="2998">
                    <a:moveTo>
                      <a:pt x="1448" y="142"/>
                    </a:moveTo>
                    <a:lnTo>
                      <a:pt x="1448" y="142"/>
                    </a:lnTo>
                    <a:lnTo>
                      <a:pt x="1268" y="110"/>
                    </a:lnTo>
                    <a:lnTo>
                      <a:pt x="1088" y="80"/>
                    </a:lnTo>
                    <a:lnTo>
                      <a:pt x="908" y="56"/>
                    </a:lnTo>
                    <a:lnTo>
                      <a:pt x="726" y="36"/>
                    </a:lnTo>
                    <a:lnTo>
                      <a:pt x="546" y="20"/>
                    </a:lnTo>
                    <a:lnTo>
                      <a:pt x="364" y="8"/>
                    </a:lnTo>
                    <a:lnTo>
                      <a:pt x="182" y="2"/>
                    </a:lnTo>
                    <a:lnTo>
                      <a:pt x="0" y="0"/>
                    </a:lnTo>
                    <a:lnTo>
                      <a:pt x="0" y="2998"/>
                    </a:lnTo>
                    <a:lnTo>
                      <a:pt x="240" y="2998"/>
                    </a:lnTo>
                    <a:lnTo>
                      <a:pt x="240" y="2298"/>
                    </a:lnTo>
                    <a:lnTo>
                      <a:pt x="240" y="2298"/>
                    </a:lnTo>
                    <a:lnTo>
                      <a:pt x="306" y="2258"/>
                    </a:lnTo>
                    <a:lnTo>
                      <a:pt x="372" y="2214"/>
                    </a:lnTo>
                    <a:lnTo>
                      <a:pt x="436" y="2168"/>
                    </a:lnTo>
                    <a:lnTo>
                      <a:pt x="498" y="2120"/>
                    </a:lnTo>
                    <a:lnTo>
                      <a:pt x="558" y="2070"/>
                    </a:lnTo>
                    <a:lnTo>
                      <a:pt x="618" y="2016"/>
                    </a:lnTo>
                    <a:lnTo>
                      <a:pt x="674" y="1960"/>
                    </a:lnTo>
                    <a:lnTo>
                      <a:pt x="730" y="1904"/>
                    </a:lnTo>
                    <a:lnTo>
                      <a:pt x="784" y="1844"/>
                    </a:lnTo>
                    <a:lnTo>
                      <a:pt x="838" y="1784"/>
                    </a:lnTo>
                    <a:lnTo>
                      <a:pt x="888" y="1720"/>
                    </a:lnTo>
                    <a:lnTo>
                      <a:pt x="936" y="1656"/>
                    </a:lnTo>
                    <a:lnTo>
                      <a:pt x="984" y="1590"/>
                    </a:lnTo>
                    <a:lnTo>
                      <a:pt x="1028" y="1522"/>
                    </a:lnTo>
                    <a:lnTo>
                      <a:pt x="1072" y="1452"/>
                    </a:lnTo>
                    <a:lnTo>
                      <a:pt x="1112" y="1382"/>
                    </a:lnTo>
                    <a:lnTo>
                      <a:pt x="1152" y="1310"/>
                    </a:lnTo>
                    <a:lnTo>
                      <a:pt x="1188" y="1238"/>
                    </a:lnTo>
                    <a:lnTo>
                      <a:pt x="1222" y="1164"/>
                    </a:lnTo>
                    <a:lnTo>
                      <a:pt x="1254" y="1088"/>
                    </a:lnTo>
                    <a:lnTo>
                      <a:pt x="1284" y="1012"/>
                    </a:lnTo>
                    <a:lnTo>
                      <a:pt x="1312" y="936"/>
                    </a:lnTo>
                    <a:lnTo>
                      <a:pt x="1338" y="858"/>
                    </a:lnTo>
                    <a:lnTo>
                      <a:pt x="1360" y="780"/>
                    </a:lnTo>
                    <a:lnTo>
                      <a:pt x="1380" y="702"/>
                    </a:lnTo>
                    <a:lnTo>
                      <a:pt x="1398" y="622"/>
                    </a:lnTo>
                    <a:lnTo>
                      <a:pt x="1412" y="542"/>
                    </a:lnTo>
                    <a:lnTo>
                      <a:pt x="1426" y="462"/>
                    </a:lnTo>
                    <a:lnTo>
                      <a:pt x="1436" y="382"/>
                    </a:lnTo>
                    <a:lnTo>
                      <a:pt x="1442" y="302"/>
                    </a:lnTo>
                    <a:lnTo>
                      <a:pt x="1446" y="222"/>
                    </a:lnTo>
                    <a:lnTo>
                      <a:pt x="1448" y="142"/>
                    </a:lnTo>
                    <a:lnTo>
                      <a:pt x="1448" y="142"/>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Ubuntu" panose="020B0504030602030204" pitchFamily="34" charset="0"/>
                  <a:ea typeface="+mn-ea"/>
                  <a:cs typeface="+mn-cs"/>
                </a:endParaRPr>
              </a:p>
            </p:txBody>
          </p:sp>
          <p:sp>
            <p:nvSpPr>
              <p:cNvPr id="31" name="Rectangle 139">
                <a:extLst>
                  <a:ext uri="{FF2B5EF4-FFF2-40B4-BE49-F238E27FC236}">
                    <a16:creationId xmlns:a16="http://schemas.microsoft.com/office/drawing/2014/main" id="{39B7530A-EBF3-607B-38A3-0BC906A53ED8}"/>
                  </a:ext>
                </a:extLst>
              </p:cNvPr>
              <p:cNvSpPr>
                <a:spLocks noChangeArrowheads="1"/>
              </p:cNvSpPr>
              <p:nvPr/>
            </p:nvSpPr>
            <p:spPr bwMode="auto">
              <a:xfrm>
                <a:off x="15024100" y="6194425"/>
                <a:ext cx="2413000" cy="177800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Ubuntu" panose="020B0504030602030204" pitchFamily="34" charset="0"/>
                  <a:ea typeface="+mn-ea"/>
                  <a:cs typeface="+mn-cs"/>
                </a:endParaRPr>
              </a:p>
            </p:txBody>
          </p:sp>
          <p:sp>
            <p:nvSpPr>
              <p:cNvPr id="33" name="Rectangle 140">
                <a:extLst>
                  <a:ext uri="{FF2B5EF4-FFF2-40B4-BE49-F238E27FC236}">
                    <a16:creationId xmlns:a16="http://schemas.microsoft.com/office/drawing/2014/main" id="{3715AF2F-78BF-0B7D-5F11-7FDED2639A7E}"/>
                  </a:ext>
                </a:extLst>
              </p:cNvPr>
              <p:cNvSpPr>
                <a:spLocks noChangeArrowheads="1"/>
              </p:cNvSpPr>
              <p:nvPr/>
            </p:nvSpPr>
            <p:spPr bwMode="auto">
              <a:xfrm>
                <a:off x="16230600" y="6194425"/>
                <a:ext cx="1206500" cy="177800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Ubuntu" panose="020B0504030602030204" pitchFamily="34" charset="0"/>
                  <a:ea typeface="+mn-ea"/>
                  <a:cs typeface="+mn-cs"/>
                </a:endParaRPr>
              </a:p>
            </p:txBody>
          </p:sp>
          <p:sp>
            <p:nvSpPr>
              <p:cNvPr id="34" name="Rectangle 141">
                <a:extLst>
                  <a:ext uri="{FF2B5EF4-FFF2-40B4-BE49-F238E27FC236}">
                    <a16:creationId xmlns:a16="http://schemas.microsoft.com/office/drawing/2014/main" id="{F066E286-AA1D-36C3-5E6B-B6CF4C90B875}"/>
                  </a:ext>
                </a:extLst>
              </p:cNvPr>
              <p:cNvSpPr>
                <a:spLocks noChangeArrowheads="1"/>
              </p:cNvSpPr>
              <p:nvPr/>
            </p:nvSpPr>
            <p:spPr bwMode="auto">
              <a:xfrm>
                <a:off x="15532100" y="6765925"/>
                <a:ext cx="1397000" cy="38100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Ubuntu" panose="020B0504030602030204" pitchFamily="34" charset="0"/>
                  <a:ea typeface="+mn-ea"/>
                  <a:cs typeface="+mn-cs"/>
                </a:endParaRPr>
              </a:p>
            </p:txBody>
          </p:sp>
          <p:sp>
            <p:nvSpPr>
              <p:cNvPr id="35" name="Rectangle 142">
                <a:extLst>
                  <a:ext uri="{FF2B5EF4-FFF2-40B4-BE49-F238E27FC236}">
                    <a16:creationId xmlns:a16="http://schemas.microsoft.com/office/drawing/2014/main" id="{2C89A1DF-3017-7D5B-EFD8-23A1585BB5D6}"/>
                  </a:ext>
                </a:extLst>
              </p:cNvPr>
              <p:cNvSpPr>
                <a:spLocks noChangeArrowheads="1"/>
              </p:cNvSpPr>
              <p:nvPr/>
            </p:nvSpPr>
            <p:spPr bwMode="auto">
              <a:xfrm>
                <a:off x="14579600" y="7718425"/>
                <a:ext cx="3302000" cy="38100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Ubuntu" panose="020B0504030602030204" pitchFamily="34" charset="0"/>
                  <a:ea typeface="+mn-ea"/>
                  <a:cs typeface="+mn-cs"/>
                </a:endParaRPr>
              </a:p>
            </p:txBody>
          </p:sp>
          <p:sp>
            <p:nvSpPr>
              <p:cNvPr id="36" name="Rectangle 143">
                <a:extLst>
                  <a:ext uri="{FF2B5EF4-FFF2-40B4-BE49-F238E27FC236}">
                    <a16:creationId xmlns:a16="http://schemas.microsoft.com/office/drawing/2014/main" id="{FA02EEDA-FCC0-C8A3-0967-660C79BCB0DC}"/>
                  </a:ext>
                </a:extLst>
              </p:cNvPr>
              <p:cNvSpPr>
                <a:spLocks noChangeArrowheads="1"/>
              </p:cNvSpPr>
              <p:nvPr/>
            </p:nvSpPr>
            <p:spPr bwMode="auto">
              <a:xfrm>
                <a:off x="16230600" y="7718425"/>
                <a:ext cx="1651000" cy="38100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Ubuntu" panose="020B0504030602030204" pitchFamily="34" charset="0"/>
                  <a:ea typeface="+mn-ea"/>
                  <a:cs typeface="+mn-cs"/>
                </a:endParaRPr>
              </a:p>
            </p:txBody>
          </p:sp>
          <p:sp>
            <p:nvSpPr>
              <p:cNvPr id="37" name="Rectangle 144">
                <a:extLst>
                  <a:ext uri="{FF2B5EF4-FFF2-40B4-BE49-F238E27FC236}">
                    <a16:creationId xmlns:a16="http://schemas.microsoft.com/office/drawing/2014/main" id="{926F0D3E-74CA-07E2-37DC-8BB3F20DF58E}"/>
                  </a:ext>
                </a:extLst>
              </p:cNvPr>
              <p:cNvSpPr>
                <a:spLocks noChangeArrowheads="1"/>
              </p:cNvSpPr>
              <p:nvPr/>
            </p:nvSpPr>
            <p:spPr bwMode="auto">
              <a:xfrm>
                <a:off x="16230600" y="6765925"/>
                <a:ext cx="698500" cy="38100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Ubuntu" panose="020B0504030602030204" pitchFamily="34" charset="0"/>
                  <a:ea typeface="+mn-ea"/>
                  <a:cs typeface="+mn-cs"/>
                </a:endParaRPr>
              </a:p>
            </p:txBody>
          </p:sp>
        </p:grpSp>
      </p:grpSp>
    </p:spTree>
    <p:extLst>
      <p:ext uri="{BB962C8B-B14F-4D97-AF65-F5344CB8AC3E}">
        <p14:creationId xmlns:p14="http://schemas.microsoft.com/office/powerpoint/2010/main" val="151764357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extBox 21">
            <a:extLst>
              <a:ext uri="{FF2B5EF4-FFF2-40B4-BE49-F238E27FC236}">
                <a16:creationId xmlns:a16="http://schemas.microsoft.com/office/drawing/2014/main" id="{5C8C6FCE-3ACC-424B-812F-6F2C3A86A4E5}"/>
              </a:ext>
            </a:extLst>
          </p:cNvPr>
          <p:cNvSpPr txBox="1">
            <a:spLocks/>
          </p:cNvSpPr>
          <p:nvPr/>
        </p:nvSpPr>
        <p:spPr>
          <a:xfrm>
            <a:off x="781360" y="1422748"/>
            <a:ext cx="5903919" cy="1554272"/>
          </a:xfrm>
          <a:prstGeom prst="rect">
            <a:avLst/>
          </a:prstGeom>
          <a:noFill/>
        </p:spPr>
        <p:txBody>
          <a:bodyPr wrap="square" lIns="0" tIns="0" rIns="0" bIns="0" rtlCol="0">
            <a:spAutoFit/>
          </a:bodyPr>
          <a:lstStyle/>
          <a:p>
            <a:pPr marL="171450" marR="0" lvl="0" indent="-171450" algn="l" defTabSz="914400" rtl="0" eaLnBrk="1" fontAlgn="auto" latinLnBrk="0" hangingPunct="1">
              <a:lnSpc>
                <a:spcPct val="100000"/>
              </a:lnSpc>
              <a:spcBef>
                <a:spcPts val="100"/>
              </a:spcBef>
              <a:spcAft>
                <a:spcPts val="200"/>
              </a:spcAft>
              <a:buClr>
                <a:srgbClr val="0070AD"/>
              </a:buClr>
              <a:buSzTx/>
              <a:buFont typeface="Wingdings" panose="05000000000000000000" pitchFamily="2" charset="2"/>
              <a:buChar char="§"/>
              <a:tabLst/>
              <a:defRPr/>
            </a:pPr>
            <a:r>
              <a:rPr kumimoji="0" lang="en-IN" sz="1200" b="0" i="0" u="none" strike="noStrike" kern="1200" cap="none" spc="0" normalizeH="0" baseline="0" noProof="0">
                <a:ln>
                  <a:noFill/>
                </a:ln>
                <a:solidFill>
                  <a:prstClr val="black"/>
                </a:solidFill>
                <a:effectLst/>
                <a:uLnTx/>
                <a:uFillTx/>
                <a:latin typeface="Ubuntu"/>
                <a:ea typeface="+mn-ea"/>
                <a:cs typeface="+mn-cs"/>
              </a:rPr>
              <a:t>The recent acquisitions resulted in the client having multiple claims teams using multiple platforms (Claim Vantage &amp; OPS) with different guidelines and rules.</a:t>
            </a:r>
          </a:p>
          <a:p>
            <a:pPr marL="171450" marR="0" lvl="0" indent="-171450" algn="l" defTabSz="914400" rtl="0" eaLnBrk="1" fontAlgn="auto" latinLnBrk="0" hangingPunct="1">
              <a:lnSpc>
                <a:spcPct val="100000"/>
              </a:lnSpc>
              <a:spcBef>
                <a:spcPts val="100"/>
              </a:spcBef>
              <a:spcAft>
                <a:spcPts val="200"/>
              </a:spcAft>
              <a:buClr>
                <a:srgbClr val="0070AD"/>
              </a:buClr>
              <a:buSzTx/>
              <a:buFont typeface="Wingdings" panose="05000000000000000000" pitchFamily="2" charset="2"/>
              <a:buChar char="§"/>
              <a:tabLst/>
              <a:defRPr/>
            </a:pPr>
            <a:r>
              <a:rPr kumimoji="0" lang="en-IN" sz="1200" b="0" i="0" u="none" strike="noStrike" kern="1200" cap="none" spc="0" normalizeH="0" baseline="0" noProof="0">
                <a:ln>
                  <a:noFill/>
                </a:ln>
                <a:solidFill>
                  <a:prstClr val="black"/>
                </a:solidFill>
                <a:effectLst/>
                <a:uLnTx/>
                <a:uFillTx/>
                <a:latin typeface="Ubuntu"/>
                <a:ea typeface="+mn-ea"/>
                <a:cs typeface="+mn-cs"/>
              </a:rPr>
              <a:t>Additionally, the client had continuous improvement programs occurring from Data Migration to claims experience uplift. Each program aimed at a specific team and viewed as disjointed from other teams.</a:t>
            </a:r>
          </a:p>
          <a:p>
            <a:pPr marL="171450" marR="0" lvl="0" indent="-171450" algn="l" defTabSz="914400" rtl="0" eaLnBrk="1" fontAlgn="auto" latinLnBrk="0" hangingPunct="1">
              <a:lnSpc>
                <a:spcPct val="100000"/>
              </a:lnSpc>
              <a:spcBef>
                <a:spcPts val="100"/>
              </a:spcBef>
              <a:spcAft>
                <a:spcPts val="200"/>
              </a:spcAft>
              <a:buClr>
                <a:srgbClr val="0070AD"/>
              </a:buClr>
              <a:buSzTx/>
              <a:buFont typeface="Wingdings" panose="05000000000000000000" pitchFamily="2" charset="2"/>
              <a:buChar char="§"/>
              <a:tabLst/>
              <a:defRPr/>
            </a:pPr>
            <a:r>
              <a:rPr kumimoji="0" lang="en-IN" sz="1200" b="0" i="0" u="none" strike="noStrike" kern="1200" cap="none" spc="0" normalizeH="0" baseline="0" noProof="0">
                <a:ln>
                  <a:noFill/>
                </a:ln>
                <a:solidFill>
                  <a:prstClr val="black"/>
                </a:solidFill>
                <a:effectLst/>
                <a:uLnTx/>
                <a:uFillTx/>
                <a:latin typeface="Ubuntu"/>
                <a:ea typeface="+mn-ea"/>
                <a:cs typeface="+mn-cs"/>
              </a:rPr>
              <a:t>Capgemini Invent was brought into shape Transformation Roadmap that will create a coherent and unique future claim experience for the assessor and the customers.</a:t>
            </a:r>
          </a:p>
        </p:txBody>
      </p:sp>
      <p:grpSp>
        <p:nvGrpSpPr>
          <p:cNvPr id="3" name="Group 2">
            <a:extLst>
              <a:ext uri="{FF2B5EF4-FFF2-40B4-BE49-F238E27FC236}">
                <a16:creationId xmlns:a16="http://schemas.microsoft.com/office/drawing/2014/main" id="{B5F96091-67C7-4DE0-80EC-28296FE9CB74}"/>
              </a:ext>
            </a:extLst>
          </p:cNvPr>
          <p:cNvGrpSpPr/>
          <p:nvPr/>
        </p:nvGrpSpPr>
        <p:grpSpPr>
          <a:xfrm>
            <a:off x="320133" y="961793"/>
            <a:ext cx="2640237" cy="520776"/>
            <a:chOff x="135582" y="1710144"/>
            <a:chExt cx="2640237" cy="520776"/>
          </a:xfrm>
        </p:grpSpPr>
        <p:sp>
          <p:nvSpPr>
            <p:cNvPr id="27" name="Rectangle: Top Corners Snipped 46">
              <a:extLst>
                <a:ext uri="{FF2B5EF4-FFF2-40B4-BE49-F238E27FC236}">
                  <a16:creationId xmlns:a16="http://schemas.microsoft.com/office/drawing/2014/main" id="{49FAC555-335F-4F5A-96A5-D58367437A7B}"/>
                </a:ext>
              </a:extLst>
            </p:cNvPr>
            <p:cNvSpPr>
              <a:spLocks/>
            </p:cNvSpPr>
            <p:nvPr/>
          </p:nvSpPr>
          <p:spPr>
            <a:xfrm>
              <a:off x="501828" y="1819679"/>
              <a:ext cx="2273991" cy="322068"/>
            </a:xfrm>
            <a:prstGeom prst="rect">
              <a:avLst/>
            </a:prstGeom>
            <a:solidFill>
              <a:schemeClr val="accent2"/>
            </a:solid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prstClr val="white"/>
                  </a:solidFill>
                  <a:effectLst/>
                  <a:uLnTx/>
                  <a:uFillTx/>
                  <a:latin typeface="Ubuntu" panose="020B0504030602030204" pitchFamily="34" charset="0"/>
                  <a:ea typeface="+mn-ea"/>
                  <a:cs typeface="+mn-cs"/>
                </a:rPr>
                <a:t>       Business challenge</a:t>
              </a:r>
            </a:p>
          </p:txBody>
        </p:sp>
        <p:sp>
          <p:nvSpPr>
            <p:cNvPr id="28" name="Oval 27">
              <a:extLst>
                <a:ext uri="{FF2B5EF4-FFF2-40B4-BE49-F238E27FC236}">
                  <a16:creationId xmlns:a16="http://schemas.microsoft.com/office/drawing/2014/main" id="{85CD967C-8C2D-467A-9B56-5AEE034D2857}"/>
                </a:ext>
              </a:extLst>
            </p:cNvPr>
            <p:cNvSpPr/>
            <p:nvPr/>
          </p:nvSpPr>
          <p:spPr>
            <a:xfrm>
              <a:off x="135582" y="1710144"/>
              <a:ext cx="520776" cy="520776"/>
            </a:xfrm>
            <a:prstGeom prst="ellipse">
              <a:avLst/>
            </a:prstGeom>
            <a:solidFill>
              <a:schemeClr val="accent1">
                <a:lumMod val="50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Ubuntu" panose="020B0504030602030204" pitchFamily="34" charset="0"/>
                <a:ea typeface="+mn-ea"/>
                <a:cs typeface="+mn-cs"/>
              </a:endParaRPr>
            </a:p>
          </p:txBody>
        </p:sp>
      </p:grpSp>
      <p:grpSp>
        <p:nvGrpSpPr>
          <p:cNvPr id="29" name="Group 28">
            <a:extLst>
              <a:ext uri="{FF2B5EF4-FFF2-40B4-BE49-F238E27FC236}">
                <a16:creationId xmlns:a16="http://schemas.microsoft.com/office/drawing/2014/main" id="{0420E46A-42E1-4F5A-88A9-64830B0078BA}"/>
              </a:ext>
            </a:extLst>
          </p:cNvPr>
          <p:cNvGrpSpPr/>
          <p:nvPr/>
        </p:nvGrpSpPr>
        <p:grpSpPr>
          <a:xfrm>
            <a:off x="418138" y="1074605"/>
            <a:ext cx="301865" cy="251137"/>
            <a:chOff x="646307" y="1893616"/>
            <a:chExt cx="371840" cy="309353"/>
          </a:xfrm>
          <a:solidFill>
            <a:schemeClr val="bg1"/>
          </a:solidFill>
        </p:grpSpPr>
        <p:sp>
          <p:nvSpPr>
            <p:cNvPr id="30" name="Freeform 26">
              <a:extLst>
                <a:ext uri="{FF2B5EF4-FFF2-40B4-BE49-F238E27FC236}">
                  <a16:creationId xmlns:a16="http://schemas.microsoft.com/office/drawing/2014/main" id="{316DF9AE-D55D-4134-8F0B-532483698DBF}"/>
                </a:ext>
              </a:extLst>
            </p:cNvPr>
            <p:cNvSpPr>
              <a:spLocks noEditPoints="1"/>
            </p:cNvSpPr>
            <p:nvPr/>
          </p:nvSpPr>
          <p:spPr bwMode="auto">
            <a:xfrm>
              <a:off x="666194" y="1893616"/>
              <a:ext cx="351953" cy="309353"/>
            </a:xfrm>
            <a:custGeom>
              <a:avLst/>
              <a:gdLst>
                <a:gd name="T0" fmla="*/ 1734 w 1747"/>
                <a:gd name="T1" fmla="*/ 1404 h 1531"/>
                <a:gd name="T2" fmla="*/ 948 w 1747"/>
                <a:gd name="T3" fmla="*/ 42 h 1531"/>
                <a:gd name="T4" fmla="*/ 876 w 1747"/>
                <a:gd name="T5" fmla="*/ 0 h 1531"/>
                <a:gd name="T6" fmla="*/ 804 w 1747"/>
                <a:gd name="T7" fmla="*/ 42 h 1531"/>
                <a:gd name="T8" fmla="*/ 15 w 1747"/>
                <a:gd name="T9" fmla="*/ 1407 h 1531"/>
                <a:gd name="T10" fmla="*/ 15 w 1747"/>
                <a:gd name="T11" fmla="*/ 1490 h 1531"/>
                <a:gd name="T12" fmla="*/ 87 w 1747"/>
                <a:gd name="T13" fmla="*/ 1531 h 1531"/>
                <a:gd name="T14" fmla="*/ 1664 w 1747"/>
                <a:gd name="T15" fmla="*/ 1531 h 1531"/>
                <a:gd name="T16" fmla="*/ 1664 w 1747"/>
                <a:gd name="T17" fmla="*/ 1531 h 1531"/>
                <a:gd name="T18" fmla="*/ 1747 w 1747"/>
                <a:gd name="T19" fmla="*/ 1448 h 1531"/>
                <a:gd name="T20" fmla="*/ 1734 w 1747"/>
                <a:gd name="T21" fmla="*/ 1404 h 1531"/>
                <a:gd name="T22" fmla="*/ 231 w 1747"/>
                <a:gd name="T23" fmla="*/ 1366 h 1531"/>
                <a:gd name="T24" fmla="*/ 876 w 1747"/>
                <a:gd name="T25" fmla="*/ 250 h 1531"/>
                <a:gd name="T26" fmla="*/ 1520 w 1747"/>
                <a:gd name="T27" fmla="*/ 1366 h 1531"/>
                <a:gd name="T28" fmla="*/ 231 w 1747"/>
                <a:gd name="T29" fmla="*/ 1366 h 1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47" h="1531">
                  <a:moveTo>
                    <a:pt x="1734" y="1404"/>
                  </a:moveTo>
                  <a:cubicBezTo>
                    <a:pt x="948" y="42"/>
                    <a:pt x="948" y="42"/>
                    <a:pt x="948" y="42"/>
                  </a:cubicBezTo>
                  <a:cubicBezTo>
                    <a:pt x="933" y="16"/>
                    <a:pt x="905" y="0"/>
                    <a:pt x="876" y="0"/>
                  </a:cubicBezTo>
                  <a:cubicBezTo>
                    <a:pt x="846" y="0"/>
                    <a:pt x="818" y="16"/>
                    <a:pt x="804" y="42"/>
                  </a:cubicBezTo>
                  <a:cubicBezTo>
                    <a:pt x="15" y="1407"/>
                    <a:pt x="15" y="1407"/>
                    <a:pt x="15" y="1407"/>
                  </a:cubicBezTo>
                  <a:cubicBezTo>
                    <a:pt x="0" y="1433"/>
                    <a:pt x="0" y="1464"/>
                    <a:pt x="15" y="1490"/>
                  </a:cubicBezTo>
                  <a:cubicBezTo>
                    <a:pt x="30" y="1516"/>
                    <a:pt x="58" y="1531"/>
                    <a:pt x="87" y="1531"/>
                  </a:cubicBezTo>
                  <a:cubicBezTo>
                    <a:pt x="1664" y="1531"/>
                    <a:pt x="1664" y="1531"/>
                    <a:pt x="1664" y="1531"/>
                  </a:cubicBezTo>
                  <a:cubicBezTo>
                    <a:pt x="1664" y="1531"/>
                    <a:pt x="1664" y="1531"/>
                    <a:pt x="1664" y="1531"/>
                  </a:cubicBezTo>
                  <a:cubicBezTo>
                    <a:pt x="1710" y="1531"/>
                    <a:pt x="1747" y="1494"/>
                    <a:pt x="1747" y="1448"/>
                  </a:cubicBezTo>
                  <a:cubicBezTo>
                    <a:pt x="1747" y="1432"/>
                    <a:pt x="1743" y="1417"/>
                    <a:pt x="1734" y="1404"/>
                  </a:cubicBezTo>
                  <a:close/>
                  <a:moveTo>
                    <a:pt x="231" y="1366"/>
                  </a:moveTo>
                  <a:cubicBezTo>
                    <a:pt x="876" y="250"/>
                    <a:pt x="876" y="250"/>
                    <a:pt x="876" y="250"/>
                  </a:cubicBezTo>
                  <a:cubicBezTo>
                    <a:pt x="1520" y="1366"/>
                    <a:pt x="1520" y="1366"/>
                    <a:pt x="1520" y="1366"/>
                  </a:cubicBezTo>
                  <a:lnTo>
                    <a:pt x="231" y="1366"/>
                  </a:lnTo>
                  <a:close/>
                </a:path>
              </a:pathLst>
            </a:custGeom>
            <a:grpFill/>
            <a:ln w="9525">
              <a:noFill/>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1000"/>
                </a:spcBef>
                <a:spcAft>
                  <a:spcPts val="0"/>
                </a:spcAft>
                <a:buClrTx/>
                <a:buSzTx/>
                <a:buFontTx/>
                <a:buNone/>
                <a:tabLst/>
                <a:defRPr/>
              </a:pPr>
              <a:endParaRPr kumimoji="0" lang="en-IE" sz="3200" b="1" i="0" u="none" strike="noStrike" kern="0" cap="none" spc="0" normalizeH="0" baseline="0" noProof="0">
                <a:ln>
                  <a:noFill/>
                </a:ln>
                <a:solidFill>
                  <a:prstClr val="white"/>
                </a:solidFill>
                <a:effectLst/>
                <a:uLnTx/>
                <a:uFillTx/>
                <a:latin typeface="Ubuntu" panose="020B0504030602030204" pitchFamily="34" charset="0"/>
                <a:ea typeface="+mn-ea"/>
                <a:cs typeface="+mn-cs"/>
              </a:endParaRPr>
            </a:p>
          </p:txBody>
        </p:sp>
        <p:sp>
          <p:nvSpPr>
            <p:cNvPr id="31" name="Freeform 42">
              <a:extLst>
                <a:ext uri="{FF2B5EF4-FFF2-40B4-BE49-F238E27FC236}">
                  <a16:creationId xmlns:a16="http://schemas.microsoft.com/office/drawing/2014/main" id="{68AC1A1D-3F47-428A-A99F-0409FFF0463B}"/>
                </a:ext>
              </a:extLst>
            </p:cNvPr>
            <p:cNvSpPr>
              <a:spLocks/>
            </p:cNvSpPr>
            <p:nvPr/>
          </p:nvSpPr>
          <p:spPr bwMode="auto">
            <a:xfrm>
              <a:off x="646307" y="1984458"/>
              <a:ext cx="154640" cy="185768"/>
            </a:xfrm>
            <a:custGeom>
              <a:avLst/>
              <a:gdLst>
                <a:gd name="T0" fmla="*/ 1376 w 1540"/>
                <a:gd name="T1" fmla="*/ 1682 h 1850"/>
                <a:gd name="T2" fmla="*/ 1376 w 1540"/>
                <a:gd name="T3" fmla="*/ 1690 h 1850"/>
                <a:gd name="T4" fmla="*/ 1366 w 1540"/>
                <a:gd name="T5" fmla="*/ 1720 h 1850"/>
                <a:gd name="T6" fmla="*/ 1352 w 1540"/>
                <a:gd name="T7" fmla="*/ 1750 h 1850"/>
                <a:gd name="T8" fmla="*/ 1328 w 1540"/>
                <a:gd name="T9" fmla="*/ 1782 h 1850"/>
                <a:gd name="T10" fmla="*/ 1290 w 1540"/>
                <a:gd name="T11" fmla="*/ 1812 h 1850"/>
                <a:gd name="T12" fmla="*/ 1236 w 1540"/>
                <a:gd name="T13" fmla="*/ 1834 h 1850"/>
                <a:gd name="T14" fmla="*/ 1164 w 1540"/>
                <a:gd name="T15" fmla="*/ 1848 h 1850"/>
                <a:gd name="T16" fmla="*/ 272 w 1540"/>
                <a:gd name="T17" fmla="*/ 1850 h 1850"/>
                <a:gd name="T18" fmla="*/ 260 w 1540"/>
                <a:gd name="T19" fmla="*/ 1846 h 1850"/>
                <a:gd name="T20" fmla="*/ 186 w 1540"/>
                <a:gd name="T21" fmla="*/ 1822 h 1850"/>
                <a:gd name="T22" fmla="*/ 136 w 1540"/>
                <a:gd name="T23" fmla="*/ 1800 h 1850"/>
                <a:gd name="T24" fmla="*/ 86 w 1540"/>
                <a:gd name="T25" fmla="*/ 1772 h 1850"/>
                <a:gd name="T26" fmla="*/ 42 w 1540"/>
                <a:gd name="T27" fmla="*/ 1736 h 1850"/>
                <a:gd name="T28" fmla="*/ 18 w 1540"/>
                <a:gd name="T29" fmla="*/ 1704 h 1850"/>
                <a:gd name="T30" fmla="*/ 6 w 1540"/>
                <a:gd name="T31" fmla="*/ 1680 h 1850"/>
                <a:gd name="T32" fmla="*/ 0 w 1540"/>
                <a:gd name="T33" fmla="*/ 1656 h 1850"/>
                <a:gd name="T34" fmla="*/ 0 w 1540"/>
                <a:gd name="T35" fmla="*/ 826 h 1850"/>
                <a:gd name="T36" fmla="*/ 20 w 1540"/>
                <a:gd name="T37" fmla="*/ 816 h 1850"/>
                <a:gd name="T38" fmla="*/ 150 w 1540"/>
                <a:gd name="T39" fmla="*/ 750 h 1850"/>
                <a:gd name="T40" fmla="*/ 236 w 1540"/>
                <a:gd name="T41" fmla="*/ 698 h 1850"/>
                <a:gd name="T42" fmla="*/ 322 w 1540"/>
                <a:gd name="T43" fmla="*/ 634 h 1850"/>
                <a:gd name="T44" fmla="*/ 380 w 1540"/>
                <a:gd name="T45" fmla="*/ 582 h 1850"/>
                <a:gd name="T46" fmla="*/ 414 w 1540"/>
                <a:gd name="T47" fmla="*/ 544 h 1850"/>
                <a:gd name="T48" fmla="*/ 442 w 1540"/>
                <a:gd name="T49" fmla="*/ 504 h 1850"/>
                <a:gd name="T50" fmla="*/ 460 w 1540"/>
                <a:gd name="T51" fmla="*/ 464 h 1850"/>
                <a:gd name="T52" fmla="*/ 470 w 1540"/>
                <a:gd name="T53" fmla="*/ 422 h 1850"/>
                <a:gd name="T54" fmla="*/ 472 w 1540"/>
                <a:gd name="T55" fmla="*/ 2 h 1850"/>
                <a:gd name="T56" fmla="*/ 488 w 1540"/>
                <a:gd name="T57" fmla="*/ 0 h 1850"/>
                <a:gd name="T58" fmla="*/ 554 w 1540"/>
                <a:gd name="T59" fmla="*/ 2 h 1850"/>
                <a:gd name="T60" fmla="*/ 616 w 1540"/>
                <a:gd name="T61" fmla="*/ 14 h 1850"/>
                <a:gd name="T62" fmla="*/ 680 w 1540"/>
                <a:gd name="T63" fmla="*/ 36 h 1850"/>
                <a:gd name="T64" fmla="*/ 712 w 1540"/>
                <a:gd name="T65" fmla="*/ 54 h 1850"/>
                <a:gd name="T66" fmla="*/ 742 w 1540"/>
                <a:gd name="T67" fmla="*/ 78 h 1850"/>
                <a:gd name="T68" fmla="*/ 770 w 1540"/>
                <a:gd name="T69" fmla="*/ 106 h 1850"/>
                <a:gd name="T70" fmla="*/ 792 w 1540"/>
                <a:gd name="T71" fmla="*/ 142 h 1850"/>
                <a:gd name="T72" fmla="*/ 808 w 1540"/>
                <a:gd name="T73" fmla="*/ 184 h 1850"/>
                <a:gd name="T74" fmla="*/ 820 w 1540"/>
                <a:gd name="T75" fmla="*/ 232 h 1850"/>
                <a:gd name="T76" fmla="*/ 824 w 1540"/>
                <a:gd name="T77" fmla="*/ 290 h 1850"/>
                <a:gd name="T78" fmla="*/ 1328 w 1540"/>
                <a:gd name="T79" fmla="*/ 658 h 1850"/>
                <a:gd name="T80" fmla="*/ 1338 w 1540"/>
                <a:gd name="T81" fmla="*/ 660 h 1850"/>
                <a:gd name="T82" fmla="*/ 1404 w 1540"/>
                <a:gd name="T83" fmla="*/ 684 h 1850"/>
                <a:gd name="T84" fmla="*/ 1448 w 1540"/>
                <a:gd name="T85" fmla="*/ 706 h 1850"/>
                <a:gd name="T86" fmla="*/ 1488 w 1540"/>
                <a:gd name="T87" fmla="*/ 738 h 1850"/>
                <a:gd name="T88" fmla="*/ 1520 w 1540"/>
                <a:gd name="T89" fmla="*/ 776 h 1850"/>
                <a:gd name="T90" fmla="*/ 1536 w 1540"/>
                <a:gd name="T91" fmla="*/ 812 h 1850"/>
                <a:gd name="T92" fmla="*/ 1540 w 1540"/>
                <a:gd name="T93" fmla="*/ 838 h 1850"/>
                <a:gd name="T94" fmla="*/ 1538 w 1540"/>
                <a:gd name="T95" fmla="*/ 866 h 1850"/>
                <a:gd name="T96" fmla="*/ 1536 w 1540"/>
                <a:gd name="T97" fmla="*/ 882 h 18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40" h="1850">
                  <a:moveTo>
                    <a:pt x="1536" y="882"/>
                  </a:moveTo>
                  <a:lnTo>
                    <a:pt x="1376" y="1682"/>
                  </a:lnTo>
                  <a:lnTo>
                    <a:pt x="1376" y="1682"/>
                  </a:lnTo>
                  <a:lnTo>
                    <a:pt x="1376" y="1690"/>
                  </a:lnTo>
                  <a:lnTo>
                    <a:pt x="1370" y="1708"/>
                  </a:lnTo>
                  <a:lnTo>
                    <a:pt x="1366" y="1720"/>
                  </a:lnTo>
                  <a:lnTo>
                    <a:pt x="1360" y="1736"/>
                  </a:lnTo>
                  <a:lnTo>
                    <a:pt x="1352" y="1750"/>
                  </a:lnTo>
                  <a:lnTo>
                    <a:pt x="1342" y="1766"/>
                  </a:lnTo>
                  <a:lnTo>
                    <a:pt x="1328" y="1782"/>
                  </a:lnTo>
                  <a:lnTo>
                    <a:pt x="1310" y="1796"/>
                  </a:lnTo>
                  <a:lnTo>
                    <a:pt x="1290" y="1812"/>
                  </a:lnTo>
                  <a:lnTo>
                    <a:pt x="1264" y="1824"/>
                  </a:lnTo>
                  <a:lnTo>
                    <a:pt x="1236" y="1834"/>
                  </a:lnTo>
                  <a:lnTo>
                    <a:pt x="1202" y="1842"/>
                  </a:lnTo>
                  <a:lnTo>
                    <a:pt x="1164" y="1848"/>
                  </a:lnTo>
                  <a:lnTo>
                    <a:pt x="1120" y="1850"/>
                  </a:lnTo>
                  <a:lnTo>
                    <a:pt x="272" y="1850"/>
                  </a:lnTo>
                  <a:lnTo>
                    <a:pt x="272" y="1850"/>
                  </a:lnTo>
                  <a:lnTo>
                    <a:pt x="260" y="1846"/>
                  </a:lnTo>
                  <a:lnTo>
                    <a:pt x="230" y="1838"/>
                  </a:lnTo>
                  <a:lnTo>
                    <a:pt x="186" y="1822"/>
                  </a:lnTo>
                  <a:lnTo>
                    <a:pt x="162" y="1812"/>
                  </a:lnTo>
                  <a:lnTo>
                    <a:pt x="136" y="1800"/>
                  </a:lnTo>
                  <a:lnTo>
                    <a:pt x="110" y="1786"/>
                  </a:lnTo>
                  <a:lnTo>
                    <a:pt x="86" y="1772"/>
                  </a:lnTo>
                  <a:lnTo>
                    <a:pt x="64" y="1754"/>
                  </a:lnTo>
                  <a:lnTo>
                    <a:pt x="42" y="1736"/>
                  </a:lnTo>
                  <a:lnTo>
                    <a:pt x="26" y="1714"/>
                  </a:lnTo>
                  <a:lnTo>
                    <a:pt x="18" y="1704"/>
                  </a:lnTo>
                  <a:lnTo>
                    <a:pt x="12" y="1692"/>
                  </a:lnTo>
                  <a:lnTo>
                    <a:pt x="6" y="1680"/>
                  </a:lnTo>
                  <a:lnTo>
                    <a:pt x="4" y="1668"/>
                  </a:lnTo>
                  <a:lnTo>
                    <a:pt x="0" y="1656"/>
                  </a:lnTo>
                  <a:lnTo>
                    <a:pt x="0" y="1642"/>
                  </a:lnTo>
                  <a:lnTo>
                    <a:pt x="0" y="826"/>
                  </a:lnTo>
                  <a:lnTo>
                    <a:pt x="0" y="826"/>
                  </a:lnTo>
                  <a:lnTo>
                    <a:pt x="20" y="816"/>
                  </a:lnTo>
                  <a:lnTo>
                    <a:pt x="74" y="792"/>
                  </a:lnTo>
                  <a:lnTo>
                    <a:pt x="150" y="750"/>
                  </a:lnTo>
                  <a:lnTo>
                    <a:pt x="192" y="726"/>
                  </a:lnTo>
                  <a:lnTo>
                    <a:pt x="236" y="698"/>
                  </a:lnTo>
                  <a:lnTo>
                    <a:pt x="280" y="668"/>
                  </a:lnTo>
                  <a:lnTo>
                    <a:pt x="322" y="634"/>
                  </a:lnTo>
                  <a:lnTo>
                    <a:pt x="362" y="600"/>
                  </a:lnTo>
                  <a:lnTo>
                    <a:pt x="380" y="582"/>
                  </a:lnTo>
                  <a:lnTo>
                    <a:pt x="398" y="562"/>
                  </a:lnTo>
                  <a:lnTo>
                    <a:pt x="414" y="544"/>
                  </a:lnTo>
                  <a:lnTo>
                    <a:pt x="428" y="524"/>
                  </a:lnTo>
                  <a:lnTo>
                    <a:pt x="442" y="504"/>
                  </a:lnTo>
                  <a:lnTo>
                    <a:pt x="452" y="484"/>
                  </a:lnTo>
                  <a:lnTo>
                    <a:pt x="460" y="464"/>
                  </a:lnTo>
                  <a:lnTo>
                    <a:pt x="466" y="444"/>
                  </a:lnTo>
                  <a:lnTo>
                    <a:pt x="470" y="422"/>
                  </a:lnTo>
                  <a:lnTo>
                    <a:pt x="472" y="402"/>
                  </a:lnTo>
                  <a:lnTo>
                    <a:pt x="472" y="2"/>
                  </a:lnTo>
                  <a:lnTo>
                    <a:pt x="472" y="2"/>
                  </a:lnTo>
                  <a:lnTo>
                    <a:pt x="488" y="0"/>
                  </a:lnTo>
                  <a:lnTo>
                    <a:pt x="528" y="0"/>
                  </a:lnTo>
                  <a:lnTo>
                    <a:pt x="554" y="2"/>
                  </a:lnTo>
                  <a:lnTo>
                    <a:pt x="584" y="6"/>
                  </a:lnTo>
                  <a:lnTo>
                    <a:pt x="616" y="14"/>
                  </a:lnTo>
                  <a:lnTo>
                    <a:pt x="648" y="22"/>
                  </a:lnTo>
                  <a:lnTo>
                    <a:pt x="680" y="36"/>
                  </a:lnTo>
                  <a:lnTo>
                    <a:pt x="696" y="46"/>
                  </a:lnTo>
                  <a:lnTo>
                    <a:pt x="712" y="54"/>
                  </a:lnTo>
                  <a:lnTo>
                    <a:pt x="728" y="66"/>
                  </a:lnTo>
                  <a:lnTo>
                    <a:pt x="742" y="78"/>
                  </a:lnTo>
                  <a:lnTo>
                    <a:pt x="756" y="92"/>
                  </a:lnTo>
                  <a:lnTo>
                    <a:pt x="770" y="106"/>
                  </a:lnTo>
                  <a:lnTo>
                    <a:pt x="780" y="124"/>
                  </a:lnTo>
                  <a:lnTo>
                    <a:pt x="792" y="142"/>
                  </a:lnTo>
                  <a:lnTo>
                    <a:pt x="800" y="162"/>
                  </a:lnTo>
                  <a:lnTo>
                    <a:pt x="808" y="184"/>
                  </a:lnTo>
                  <a:lnTo>
                    <a:pt x="816" y="208"/>
                  </a:lnTo>
                  <a:lnTo>
                    <a:pt x="820" y="232"/>
                  </a:lnTo>
                  <a:lnTo>
                    <a:pt x="822" y="260"/>
                  </a:lnTo>
                  <a:lnTo>
                    <a:pt x="824" y="290"/>
                  </a:lnTo>
                  <a:lnTo>
                    <a:pt x="824" y="658"/>
                  </a:lnTo>
                  <a:lnTo>
                    <a:pt x="1328" y="658"/>
                  </a:lnTo>
                  <a:lnTo>
                    <a:pt x="1328" y="658"/>
                  </a:lnTo>
                  <a:lnTo>
                    <a:pt x="1338" y="660"/>
                  </a:lnTo>
                  <a:lnTo>
                    <a:pt x="1366" y="670"/>
                  </a:lnTo>
                  <a:lnTo>
                    <a:pt x="1404" y="684"/>
                  </a:lnTo>
                  <a:lnTo>
                    <a:pt x="1426" y="694"/>
                  </a:lnTo>
                  <a:lnTo>
                    <a:pt x="1448" y="706"/>
                  </a:lnTo>
                  <a:lnTo>
                    <a:pt x="1468" y="722"/>
                  </a:lnTo>
                  <a:lnTo>
                    <a:pt x="1488" y="738"/>
                  </a:lnTo>
                  <a:lnTo>
                    <a:pt x="1506" y="756"/>
                  </a:lnTo>
                  <a:lnTo>
                    <a:pt x="1520" y="776"/>
                  </a:lnTo>
                  <a:lnTo>
                    <a:pt x="1532" y="798"/>
                  </a:lnTo>
                  <a:lnTo>
                    <a:pt x="1536" y="812"/>
                  </a:lnTo>
                  <a:lnTo>
                    <a:pt x="1538" y="824"/>
                  </a:lnTo>
                  <a:lnTo>
                    <a:pt x="1540" y="838"/>
                  </a:lnTo>
                  <a:lnTo>
                    <a:pt x="1540" y="852"/>
                  </a:lnTo>
                  <a:lnTo>
                    <a:pt x="1538" y="866"/>
                  </a:lnTo>
                  <a:lnTo>
                    <a:pt x="1536" y="882"/>
                  </a:lnTo>
                  <a:lnTo>
                    <a:pt x="1536" y="882"/>
                  </a:lnTo>
                  <a:close/>
                </a:path>
              </a:pathLst>
            </a:custGeom>
            <a:grpFill/>
            <a:ln w="28575">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Ubuntu" panose="020B0504030602030204" pitchFamily="34" charset="0"/>
                <a:ea typeface="+mn-ea"/>
                <a:cs typeface="+mn-cs"/>
              </a:endParaRPr>
            </a:p>
          </p:txBody>
        </p:sp>
        <p:grpSp>
          <p:nvGrpSpPr>
            <p:cNvPr id="32" name="Groupe 13">
              <a:extLst>
                <a:ext uri="{FF2B5EF4-FFF2-40B4-BE49-F238E27FC236}">
                  <a16:creationId xmlns:a16="http://schemas.microsoft.com/office/drawing/2014/main" id="{0716F664-E16B-43B6-BF23-19037C14F716}"/>
                </a:ext>
              </a:extLst>
            </p:cNvPr>
            <p:cNvGrpSpPr>
              <a:grpSpLocks noChangeAspect="1"/>
            </p:cNvGrpSpPr>
            <p:nvPr/>
          </p:nvGrpSpPr>
          <p:grpSpPr>
            <a:xfrm>
              <a:off x="814408" y="1977820"/>
              <a:ext cx="52018" cy="177225"/>
              <a:chOff x="-687930" y="3942515"/>
              <a:chExt cx="120467" cy="410428"/>
            </a:xfrm>
            <a:grpFill/>
          </p:grpSpPr>
          <p:sp>
            <p:nvSpPr>
              <p:cNvPr id="33" name="Freeform 115">
                <a:extLst>
                  <a:ext uri="{FF2B5EF4-FFF2-40B4-BE49-F238E27FC236}">
                    <a16:creationId xmlns:a16="http://schemas.microsoft.com/office/drawing/2014/main" id="{0578DB0F-B455-4BA1-B7DB-8B28A0759033}"/>
                  </a:ext>
                </a:extLst>
              </p:cNvPr>
              <p:cNvSpPr>
                <a:spLocks/>
              </p:cNvSpPr>
              <p:nvPr/>
            </p:nvSpPr>
            <p:spPr bwMode="auto">
              <a:xfrm>
                <a:off x="-671121" y="3942515"/>
                <a:ext cx="86848" cy="284359"/>
              </a:xfrm>
              <a:custGeom>
                <a:avLst/>
                <a:gdLst>
                  <a:gd name="T0" fmla="*/ 0 w 26"/>
                  <a:gd name="T1" fmla="*/ 12 h 86"/>
                  <a:gd name="T2" fmla="*/ 26 w 26"/>
                  <a:gd name="T3" fmla="*/ 9 h 86"/>
                  <a:gd name="T4" fmla="*/ 26 w 26"/>
                  <a:gd name="T5" fmla="*/ 38 h 86"/>
                  <a:gd name="T6" fmla="*/ 25 w 26"/>
                  <a:gd name="T7" fmla="*/ 63 h 86"/>
                  <a:gd name="T8" fmla="*/ 22 w 26"/>
                  <a:gd name="T9" fmla="*/ 86 h 86"/>
                  <a:gd name="T10" fmla="*/ 4 w 26"/>
                  <a:gd name="T11" fmla="*/ 86 h 86"/>
                  <a:gd name="T12" fmla="*/ 1 w 26"/>
                  <a:gd name="T13" fmla="*/ 63 h 86"/>
                  <a:gd name="T14" fmla="*/ 0 w 26"/>
                  <a:gd name="T15" fmla="*/ 38 h 86"/>
                  <a:gd name="T16" fmla="*/ 0 w 26"/>
                  <a:gd name="T17" fmla="*/ 16 h 86"/>
                  <a:gd name="T18" fmla="*/ 0 w 26"/>
                  <a:gd name="T19" fmla="*/ 1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86">
                    <a:moveTo>
                      <a:pt x="0" y="12"/>
                    </a:moveTo>
                    <a:cubicBezTo>
                      <a:pt x="0" y="0"/>
                      <a:pt x="25" y="9"/>
                      <a:pt x="26" y="9"/>
                    </a:cubicBezTo>
                    <a:cubicBezTo>
                      <a:pt x="26" y="11"/>
                      <a:pt x="26" y="38"/>
                      <a:pt x="26" y="38"/>
                    </a:cubicBezTo>
                    <a:cubicBezTo>
                      <a:pt x="26" y="47"/>
                      <a:pt x="26" y="55"/>
                      <a:pt x="25" y="63"/>
                    </a:cubicBezTo>
                    <a:cubicBezTo>
                      <a:pt x="24" y="70"/>
                      <a:pt x="23" y="78"/>
                      <a:pt x="22" y="86"/>
                    </a:cubicBezTo>
                    <a:cubicBezTo>
                      <a:pt x="4" y="86"/>
                      <a:pt x="4" y="86"/>
                      <a:pt x="4" y="86"/>
                    </a:cubicBezTo>
                    <a:cubicBezTo>
                      <a:pt x="2" y="78"/>
                      <a:pt x="2" y="70"/>
                      <a:pt x="1" y="63"/>
                    </a:cubicBezTo>
                    <a:cubicBezTo>
                      <a:pt x="0" y="55"/>
                      <a:pt x="0" y="47"/>
                      <a:pt x="0" y="38"/>
                    </a:cubicBezTo>
                    <a:cubicBezTo>
                      <a:pt x="0" y="16"/>
                      <a:pt x="0" y="16"/>
                      <a:pt x="0" y="16"/>
                    </a:cubicBezTo>
                    <a:cubicBezTo>
                      <a:pt x="0" y="16"/>
                      <a:pt x="0" y="19"/>
                      <a:pt x="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Ubuntu" panose="020B0504030602030204" pitchFamily="34" charset="0"/>
                  <a:ea typeface="+mn-ea"/>
                  <a:cs typeface="+mn-cs"/>
                </a:endParaRPr>
              </a:p>
            </p:txBody>
          </p:sp>
          <p:sp>
            <p:nvSpPr>
              <p:cNvPr id="34" name="Freeform 116">
                <a:extLst>
                  <a:ext uri="{FF2B5EF4-FFF2-40B4-BE49-F238E27FC236}">
                    <a16:creationId xmlns:a16="http://schemas.microsoft.com/office/drawing/2014/main" id="{D4270DBD-A41B-413A-A579-CAEF48AB140E}"/>
                  </a:ext>
                </a:extLst>
              </p:cNvPr>
              <p:cNvSpPr>
                <a:spLocks/>
              </p:cNvSpPr>
              <p:nvPr/>
            </p:nvSpPr>
            <p:spPr bwMode="auto">
              <a:xfrm>
                <a:off x="-687930" y="4243682"/>
                <a:ext cx="120467" cy="109261"/>
              </a:xfrm>
              <a:custGeom>
                <a:avLst/>
                <a:gdLst>
                  <a:gd name="T0" fmla="*/ 5 w 36"/>
                  <a:gd name="T1" fmla="*/ 25 h 33"/>
                  <a:gd name="T2" fmla="*/ 9 w 36"/>
                  <a:gd name="T3" fmla="*/ 5 h 33"/>
                  <a:gd name="T4" fmla="*/ 30 w 36"/>
                  <a:gd name="T5" fmla="*/ 8 h 33"/>
                  <a:gd name="T6" fmla="*/ 27 w 36"/>
                  <a:gd name="T7" fmla="*/ 28 h 33"/>
                  <a:gd name="T8" fmla="*/ 5 w 36"/>
                  <a:gd name="T9" fmla="*/ 25 h 33"/>
                </a:gdLst>
                <a:ahLst/>
                <a:cxnLst>
                  <a:cxn ang="0">
                    <a:pos x="T0" y="T1"/>
                  </a:cxn>
                  <a:cxn ang="0">
                    <a:pos x="T2" y="T3"/>
                  </a:cxn>
                  <a:cxn ang="0">
                    <a:pos x="T4" y="T5"/>
                  </a:cxn>
                  <a:cxn ang="0">
                    <a:pos x="T6" y="T7"/>
                  </a:cxn>
                  <a:cxn ang="0">
                    <a:pos x="T8" y="T9"/>
                  </a:cxn>
                </a:cxnLst>
                <a:rect l="0" t="0" r="r" b="b"/>
                <a:pathLst>
                  <a:path w="36" h="33">
                    <a:moveTo>
                      <a:pt x="5" y="25"/>
                    </a:moveTo>
                    <a:cubicBezTo>
                      <a:pt x="0" y="19"/>
                      <a:pt x="2" y="9"/>
                      <a:pt x="9" y="5"/>
                    </a:cubicBezTo>
                    <a:cubicBezTo>
                      <a:pt x="16" y="0"/>
                      <a:pt x="25" y="1"/>
                      <a:pt x="30" y="8"/>
                    </a:cubicBezTo>
                    <a:cubicBezTo>
                      <a:pt x="36" y="14"/>
                      <a:pt x="33" y="23"/>
                      <a:pt x="27" y="28"/>
                    </a:cubicBezTo>
                    <a:cubicBezTo>
                      <a:pt x="20" y="33"/>
                      <a:pt x="10" y="32"/>
                      <a:pt x="5"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Ubuntu" panose="020B0504030602030204" pitchFamily="34" charset="0"/>
                  <a:ea typeface="+mn-ea"/>
                  <a:cs typeface="+mn-cs"/>
                </a:endParaRPr>
              </a:p>
            </p:txBody>
          </p:sp>
        </p:grpSp>
      </p:grpSp>
      <p:sp>
        <p:nvSpPr>
          <p:cNvPr id="35" name="TextBox 34">
            <a:extLst>
              <a:ext uri="{FF2B5EF4-FFF2-40B4-BE49-F238E27FC236}">
                <a16:creationId xmlns:a16="http://schemas.microsoft.com/office/drawing/2014/main" id="{18AE2A94-F697-404B-9643-0E79321E3699}"/>
              </a:ext>
            </a:extLst>
          </p:cNvPr>
          <p:cNvSpPr txBox="1">
            <a:spLocks/>
          </p:cNvSpPr>
          <p:nvPr/>
        </p:nvSpPr>
        <p:spPr>
          <a:xfrm>
            <a:off x="840909" y="3441752"/>
            <a:ext cx="5844370" cy="92333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100"/>
              </a:spcBef>
              <a:spcAft>
                <a:spcPts val="200"/>
              </a:spcAft>
              <a:buClr>
                <a:srgbClr val="0070AD"/>
              </a:buClr>
              <a:buSzTx/>
              <a:buFontTx/>
              <a:buNone/>
              <a:tabLst/>
              <a:defRPr/>
            </a:pPr>
            <a:r>
              <a:rPr kumimoji="0" lang="en-IN" sz="1200" b="0" i="0" u="none" strike="noStrike" kern="1200" cap="none" spc="0" normalizeH="0" baseline="0" noProof="0">
                <a:ln>
                  <a:noFill/>
                </a:ln>
                <a:solidFill>
                  <a:prstClr val="black"/>
                </a:solidFill>
                <a:effectLst/>
                <a:uLnTx/>
                <a:uFillTx/>
                <a:latin typeface="Ubuntu"/>
                <a:ea typeface="+mn-ea"/>
                <a:cs typeface="+mn-cs"/>
              </a:rPr>
              <a:t>Over an 8 week engagement </a:t>
            </a:r>
            <a:r>
              <a:rPr kumimoji="0" lang="en-IN" sz="1200" b="1" i="0" u="none" strike="noStrike" kern="1200" cap="none" spc="0" normalizeH="0" baseline="0" noProof="0">
                <a:ln>
                  <a:noFill/>
                </a:ln>
                <a:solidFill>
                  <a:prstClr val="black"/>
                </a:solidFill>
                <a:effectLst/>
                <a:uLnTx/>
                <a:uFillTx/>
                <a:latin typeface="Ubuntu"/>
                <a:ea typeface="+mn-ea"/>
                <a:cs typeface="+mn-cs"/>
              </a:rPr>
              <a:t>Capgemini Invent </a:t>
            </a:r>
            <a:r>
              <a:rPr kumimoji="0" lang="en-IN" sz="1200" b="0" i="0" u="none" strike="noStrike" kern="1200" cap="none" spc="0" normalizeH="0" baseline="0" noProof="0">
                <a:ln>
                  <a:noFill/>
                </a:ln>
                <a:solidFill>
                  <a:prstClr val="black"/>
                </a:solidFill>
                <a:effectLst/>
                <a:uLnTx/>
                <a:uFillTx/>
                <a:latin typeface="Ubuntu"/>
                <a:ea typeface="+mn-ea"/>
                <a:cs typeface="+mn-cs"/>
              </a:rPr>
              <a:t>developed a future state claimant centric service blueprint which informed the future state process design and future state claims platform and resulted in a prioritised and actionable transformation roadmap aligned to three key performance objectives (efficiency, customer satisfaction and productivity)</a:t>
            </a:r>
          </a:p>
        </p:txBody>
      </p:sp>
      <p:grpSp>
        <p:nvGrpSpPr>
          <p:cNvPr id="7" name="Group 6">
            <a:extLst>
              <a:ext uri="{FF2B5EF4-FFF2-40B4-BE49-F238E27FC236}">
                <a16:creationId xmlns:a16="http://schemas.microsoft.com/office/drawing/2014/main" id="{F80BF641-28DA-49F6-B4F5-B37C0FF2B94D}"/>
              </a:ext>
            </a:extLst>
          </p:cNvPr>
          <p:cNvGrpSpPr/>
          <p:nvPr/>
        </p:nvGrpSpPr>
        <p:grpSpPr>
          <a:xfrm>
            <a:off x="320133" y="2941938"/>
            <a:ext cx="2640237" cy="520776"/>
            <a:chOff x="322513" y="3132432"/>
            <a:chExt cx="2640237" cy="520776"/>
          </a:xfrm>
        </p:grpSpPr>
        <p:sp>
          <p:nvSpPr>
            <p:cNvPr id="37" name="Rectangle: Top Corners Snipped 46">
              <a:extLst>
                <a:ext uri="{FF2B5EF4-FFF2-40B4-BE49-F238E27FC236}">
                  <a16:creationId xmlns:a16="http://schemas.microsoft.com/office/drawing/2014/main" id="{5C849AE4-AD2C-4BCF-81E3-D33E7EB51E46}"/>
                </a:ext>
              </a:extLst>
            </p:cNvPr>
            <p:cNvSpPr>
              <a:spLocks/>
            </p:cNvSpPr>
            <p:nvPr/>
          </p:nvSpPr>
          <p:spPr>
            <a:xfrm>
              <a:off x="783742" y="3235663"/>
              <a:ext cx="2179008" cy="322068"/>
            </a:xfrm>
            <a:prstGeom prst="rect">
              <a:avLst/>
            </a:prstGeom>
            <a:solidFill>
              <a:schemeClr val="accent2"/>
            </a:solid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prstClr val="white"/>
                  </a:solidFill>
                  <a:effectLst/>
                  <a:uLnTx/>
                  <a:uFillTx/>
                  <a:latin typeface="Ubuntu" panose="020B0504030602030204" pitchFamily="34" charset="0"/>
                  <a:ea typeface="+mn-ea"/>
                  <a:cs typeface="+mn-cs"/>
                </a:rPr>
                <a:t>    Solution</a:t>
              </a:r>
            </a:p>
          </p:txBody>
        </p:sp>
        <p:sp>
          <p:nvSpPr>
            <p:cNvPr id="38" name="Oval 37">
              <a:extLst>
                <a:ext uri="{FF2B5EF4-FFF2-40B4-BE49-F238E27FC236}">
                  <a16:creationId xmlns:a16="http://schemas.microsoft.com/office/drawing/2014/main" id="{68959B59-D403-427C-822A-3CB09134F2D3}"/>
                </a:ext>
              </a:extLst>
            </p:cNvPr>
            <p:cNvSpPr/>
            <p:nvPr/>
          </p:nvSpPr>
          <p:spPr>
            <a:xfrm>
              <a:off x="322513" y="3132432"/>
              <a:ext cx="520776" cy="520776"/>
            </a:xfrm>
            <a:prstGeom prst="ellipse">
              <a:avLst/>
            </a:prstGeom>
            <a:solidFill>
              <a:schemeClr val="accent1">
                <a:lumMod val="7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Ubuntu" panose="020B0504030602030204" pitchFamily="34" charset="0"/>
                <a:ea typeface="+mn-ea"/>
                <a:cs typeface="+mn-cs"/>
              </a:endParaRPr>
            </a:p>
          </p:txBody>
        </p:sp>
        <p:grpSp>
          <p:nvGrpSpPr>
            <p:cNvPr id="39" name="Group 148">
              <a:extLst>
                <a:ext uri="{FF2B5EF4-FFF2-40B4-BE49-F238E27FC236}">
                  <a16:creationId xmlns:a16="http://schemas.microsoft.com/office/drawing/2014/main" id="{B1CCC848-FD98-46C3-B4F9-6FCA5D91785E}"/>
                </a:ext>
              </a:extLst>
            </p:cNvPr>
            <p:cNvGrpSpPr/>
            <p:nvPr/>
          </p:nvGrpSpPr>
          <p:grpSpPr>
            <a:xfrm>
              <a:off x="403340" y="3258953"/>
              <a:ext cx="319043" cy="267739"/>
              <a:chOff x="6024422" y="2090478"/>
              <a:chExt cx="1035584" cy="869053"/>
            </a:xfrm>
            <a:solidFill>
              <a:schemeClr val="bg1"/>
            </a:solidFill>
          </p:grpSpPr>
          <p:sp>
            <p:nvSpPr>
              <p:cNvPr id="40" name="Freeform 26">
                <a:extLst>
                  <a:ext uri="{FF2B5EF4-FFF2-40B4-BE49-F238E27FC236}">
                    <a16:creationId xmlns:a16="http://schemas.microsoft.com/office/drawing/2014/main" id="{81713820-C35E-4647-9BF5-D90995D6838D}"/>
                  </a:ext>
                </a:extLst>
              </p:cNvPr>
              <p:cNvSpPr>
                <a:spLocks/>
              </p:cNvSpPr>
              <p:nvPr/>
            </p:nvSpPr>
            <p:spPr bwMode="auto">
              <a:xfrm>
                <a:off x="6603790" y="2493517"/>
                <a:ext cx="456216" cy="466014"/>
              </a:xfrm>
              <a:custGeom>
                <a:avLst/>
                <a:gdLst>
                  <a:gd name="T0" fmla="*/ 699 w 749"/>
                  <a:gd name="T1" fmla="*/ 441 h 763"/>
                  <a:gd name="T2" fmla="*/ 260 w 749"/>
                  <a:gd name="T3" fmla="*/ 0 h 763"/>
                  <a:gd name="T4" fmla="*/ 204 w 749"/>
                  <a:gd name="T5" fmla="*/ 96 h 763"/>
                  <a:gd name="T6" fmla="*/ 599 w 749"/>
                  <a:gd name="T7" fmla="*/ 493 h 763"/>
                  <a:gd name="T8" fmla="*/ 599 w 749"/>
                  <a:gd name="T9" fmla="*/ 540 h 763"/>
                  <a:gd name="T10" fmla="*/ 575 w 749"/>
                  <a:gd name="T11" fmla="*/ 549 h 763"/>
                  <a:gd name="T12" fmla="*/ 552 w 749"/>
                  <a:gd name="T13" fmla="*/ 540 h 763"/>
                  <a:gd name="T14" fmla="*/ 161 w 749"/>
                  <a:gd name="T15" fmla="*/ 146 h 763"/>
                  <a:gd name="T16" fmla="*/ 159 w 749"/>
                  <a:gd name="T17" fmla="*/ 149 h 763"/>
                  <a:gd name="T18" fmla="*/ 159 w 749"/>
                  <a:gd name="T19" fmla="*/ 149 h 763"/>
                  <a:gd name="T20" fmla="*/ 0 w 749"/>
                  <a:gd name="T21" fmla="*/ 254 h 763"/>
                  <a:gd name="T22" fmla="*/ 4 w 749"/>
                  <a:gd name="T23" fmla="*/ 367 h 763"/>
                  <a:gd name="T24" fmla="*/ 45 w 749"/>
                  <a:gd name="T25" fmla="*/ 409 h 763"/>
                  <a:gd name="T26" fmla="*/ 172 w 749"/>
                  <a:gd name="T27" fmla="*/ 414 h 763"/>
                  <a:gd name="T28" fmla="*/ 176 w 749"/>
                  <a:gd name="T29" fmla="*/ 540 h 763"/>
                  <a:gd name="T30" fmla="*/ 218 w 749"/>
                  <a:gd name="T31" fmla="*/ 582 h 763"/>
                  <a:gd name="T32" fmla="*/ 344 w 749"/>
                  <a:gd name="T33" fmla="*/ 587 h 763"/>
                  <a:gd name="T34" fmla="*/ 348 w 749"/>
                  <a:gd name="T35" fmla="*/ 713 h 763"/>
                  <a:gd name="T36" fmla="*/ 361 w 749"/>
                  <a:gd name="T37" fmla="*/ 742 h 763"/>
                  <a:gd name="T38" fmla="*/ 390 w 749"/>
                  <a:gd name="T39" fmla="*/ 755 h 763"/>
                  <a:gd name="T40" fmla="*/ 557 w 749"/>
                  <a:gd name="T41" fmla="*/ 762 h 763"/>
                  <a:gd name="T42" fmla="*/ 557 w 749"/>
                  <a:gd name="T43" fmla="*/ 741 h 763"/>
                  <a:gd name="T44" fmla="*/ 557 w 749"/>
                  <a:gd name="T45" fmla="*/ 762 h 763"/>
                  <a:gd name="T46" fmla="*/ 564 w 749"/>
                  <a:gd name="T47" fmla="*/ 763 h 763"/>
                  <a:gd name="T48" fmla="*/ 697 w 749"/>
                  <a:gd name="T49" fmla="*/ 707 h 763"/>
                  <a:gd name="T50" fmla="*/ 749 w 749"/>
                  <a:gd name="T51" fmla="*/ 573 h 763"/>
                  <a:gd name="T52" fmla="*/ 699 w 749"/>
                  <a:gd name="T53" fmla="*/ 441 h 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49" h="763">
                    <a:moveTo>
                      <a:pt x="699" y="441"/>
                    </a:moveTo>
                    <a:cubicBezTo>
                      <a:pt x="659" y="401"/>
                      <a:pt x="417" y="157"/>
                      <a:pt x="260" y="0"/>
                    </a:cubicBezTo>
                    <a:cubicBezTo>
                      <a:pt x="246" y="33"/>
                      <a:pt x="227" y="66"/>
                      <a:pt x="204" y="96"/>
                    </a:cubicBezTo>
                    <a:cubicBezTo>
                      <a:pt x="599" y="493"/>
                      <a:pt x="599" y="493"/>
                      <a:pt x="599" y="493"/>
                    </a:cubicBezTo>
                    <a:cubicBezTo>
                      <a:pt x="612" y="506"/>
                      <a:pt x="611" y="527"/>
                      <a:pt x="599" y="540"/>
                    </a:cubicBezTo>
                    <a:cubicBezTo>
                      <a:pt x="592" y="546"/>
                      <a:pt x="584" y="549"/>
                      <a:pt x="575" y="549"/>
                    </a:cubicBezTo>
                    <a:cubicBezTo>
                      <a:pt x="567" y="549"/>
                      <a:pt x="558" y="546"/>
                      <a:pt x="552" y="540"/>
                    </a:cubicBezTo>
                    <a:cubicBezTo>
                      <a:pt x="161" y="146"/>
                      <a:pt x="161" y="146"/>
                      <a:pt x="161" y="146"/>
                    </a:cubicBezTo>
                    <a:cubicBezTo>
                      <a:pt x="160" y="147"/>
                      <a:pt x="159" y="148"/>
                      <a:pt x="159" y="149"/>
                    </a:cubicBezTo>
                    <a:cubicBezTo>
                      <a:pt x="159" y="149"/>
                      <a:pt x="159" y="149"/>
                      <a:pt x="159" y="149"/>
                    </a:cubicBezTo>
                    <a:cubicBezTo>
                      <a:pt x="112" y="195"/>
                      <a:pt x="58" y="230"/>
                      <a:pt x="0" y="254"/>
                    </a:cubicBezTo>
                    <a:cubicBezTo>
                      <a:pt x="4" y="367"/>
                      <a:pt x="4" y="367"/>
                      <a:pt x="4" y="367"/>
                    </a:cubicBezTo>
                    <a:cubicBezTo>
                      <a:pt x="5" y="389"/>
                      <a:pt x="23" y="408"/>
                      <a:pt x="45" y="409"/>
                    </a:cubicBezTo>
                    <a:cubicBezTo>
                      <a:pt x="172" y="414"/>
                      <a:pt x="172" y="414"/>
                      <a:pt x="172" y="414"/>
                    </a:cubicBezTo>
                    <a:cubicBezTo>
                      <a:pt x="176" y="540"/>
                      <a:pt x="176" y="540"/>
                      <a:pt x="176" y="540"/>
                    </a:cubicBezTo>
                    <a:cubicBezTo>
                      <a:pt x="177" y="563"/>
                      <a:pt x="195" y="581"/>
                      <a:pt x="218" y="582"/>
                    </a:cubicBezTo>
                    <a:cubicBezTo>
                      <a:pt x="344" y="587"/>
                      <a:pt x="344" y="587"/>
                      <a:pt x="344" y="587"/>
                    </a:cubicBezTo>
                    <a:cubicBezTo>
                      <a:pt x="348" y="713"/>
                      <a:pt x="348" y="713"/>
                      <a:pt x="348" y="713"/>
                    </a:cubicBezTo>
                    <a:cubicBezTo>
                      <a:pt x="348" y="724"/>
                      <a:pt x="353" y="735"/>
                      <a:pt x="361" y="742"/>
                    </a:cubicBezTo>
                    <a:cubicBezTo>
                      <a:pt x="368" y="750"/>
                      <a:pt x="378" y="755"/>
                      <a:pt x="390" y="755"/>
                    </a:cubicBezTo>
                    <a:cubicBezTo>
                      <a:pt x="389" y="755"/>
                      <a:pt x="526" y="761"/>
                      <a:pt x="557" y="762"/>
                    </a:cubicBezTo>
                    <a:cubicBezTo>
                      <a:pt x="557" y="741"/>
                      <a:pt x="557" y="741"/>
                      <a:pt x="557" y="741"/>
                    </a:cubicBezTo>
                    <a:cubicBezTo>
                      <a:pt x="557" y="762"/>
                      <a:pt x="557" y="762"/>
                      <a:pt x="557" y="762"/>
                    </a:cubicBezTo>
                    <a:cubicBezTo>
                      <a:pt x="559" y="763"/>
                      <a:pt x="561" y="763"/>
                      <a:pt x="564" y="763"/>
                    </a:cubicBezTo>
                    <a:cubicBezTo>
                      <a:pt x="618" y="763"/>
                      <a:pt x="664" y="740"/>
                      <a:pt x="697" y="707"/>
                    </a:cubicBezTo>
                    <a:cubicBezTo>
                      <a:pt x="733" y="672"/>
                      <a:pt x="749" y="622"/>
                      <a:pt x="749" y="573"/>
                    </a:cubicBezTo>
                    <a:cubicBezTo>
                      <a:pt x="749" y="524"/>
                      <a:pt x="733" y="476"/>
                      <a:pt x="699" y="4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noProof="0">
                  <a:ln>
                    <a:noFill/>
                  </a:ln>
                  <a:solidFill>
                    <a:srgbClr val="000000"/>
                  </a:solidFill>
                  <a:effectLst/>
                  <a:uLnTx/>
                  <a:uFillTx/>
                  <a:latin typeface="Ubuntu" panose="020B0504030602030204" pitchFamily="34" charset="0"/>
                  <a:ea typeface="+mn-ea"/>
                  <a:cs typeface="+mn-cs"/>
                </a:endParaRPr>
              </a:p>
            </p:txBody>
          </p:sp>
          <p:sp>
            <p:nvSpPr>
              <p:cNvPr id="41" name="Freeform 27">
                <a:extLst>
                  <a:ext uri="{FF2B5EF4-FFF2-40B4-BE49-F238E27FC236}">
                    <a16:creationId xmlns:a16="http://schemas.microsoft.com/office/drawing/2014/main" id="{FD607E45-3CE4-4E27-B4E0-7B44597933CA}"/>
                  </a:ext>
                </a:extLst>
              </p:cNvPr>
              <p:cNvSpPr>
                <a:spLocks noEditPoints="1"/>
              </p:cNvSpPr>
              <p:nvPr/>
            </p:nvSpPr>
            <p:spPr bwMode="auto">
              <a:xfrm>
                <a:off x="6024422" y="2090478"/>
                <a:ext cx="740303" cy="589164"/>
              </a:xfrm>
              <a:custGeom>
                <a:avLst/>
                <a:gdLst>
                  <a:gd name="T0" fmla="*/ 1069 w 1214"/>
                  <a:gd name="T1" fmla="*/ 754 h 966"/>
                  <a:gd name="T2" fmla="*/ 1099 w 1214"/>
                  <a:gd name="T3" fmla="*/ 719 h 966"/>
                  <a:gd name="T4" fmla="*/ 1159 w 1214"/>
                  <a:gd name="T5" fmla="*/ 610 h 966"/>
                  <a:gd name="T6" fmla="*/ 1063 w 1214"/>
                  <a:gd name="T7" fmla="*/ 166 h 966"/>
                  <a:gd name="T8" fmla="*/ 466 w 1214"/>
                  <a:gd name="T9" fmla="*/ 164 h 966"/>
                  <a:gd name="T10" fmla="*/ 356 w 1214"/>
                  <a:gd name="T11" fmla="*/ 357 h 966"/>
                  <a:gd name="T12" fmla="*/ 249 w 1214"/>
                  <a:gd name="T13" fmla="*/ 429 h 966"/>
                  <a:gd name="T14" fmla="*/ 47 w 1214"/>
                  <a:gd name="T15" fmla="*/ 661 h 966"/>
                  <a:gd name="T16" fmla="*/ 16 w 1214"/>
                  <a:gd name="T17" fmla="*/ 851 h 966"/>
                  <a:gd name="T18" fmla="*/ 42 w 1214"/>
                  <a:gd name="T19" fmla="*/ 902 h 966"/>
                  <a:gd name="T20" fmla="*/ 94 w 1214"/>
                  <a:gd name="T21" fmla="*/ 944 h 966"/>
                  <a:gd name="T22" fmla="*/ 192 w 1214"/>
                  <a:gd name="T23" fmla="*/ 966 h 966"/>
                  <a:gd name="T24" fmla="*/ 541 w 1214"/>
                  <a:gd name="T25" fmla="*/ 822 h 966"/>
                  <a:gd name="T26" fmla="*/ 924 w 1214"/>
                  <a:gd name="T27" fmla="*/ 854 h 966"/>
                  <a:gd name="T28" fmla="*/ 1061 w 1214"/>
                  <a:gd name="T29" fmla="*/ 763 h 966"/>
                  <a:gd name="T30" fmla="*/ 1069 w 1214"/>
                  <a:gd name="T31" fmla="*/ 754 h 966"/>
                  <a:gd name="T32" fmla="*/ 790 w 1214"/>
                  <a:gd name="T33" fmla="*/ 470 h 966"/>
                  <a:gd name="T34" fmla="*/ 780 w 1214"/>
                  <a:gd name="T35" fmla="*/ 480 h 966"/>
                  <a:gd name="T36" fmla="*/ 776 w 1214"/>
                  <a:gd name="T37" fmla="*/ 485 h 966"/>
                  <a:gd name="T38" fmla="*/ 688 w 1214"/>
                  <a:gd name="T39" fmla="*/ 518 h 966"/>
                  <a:gd name="T40" fmla="*/ 641 w 1214"/>
                  <a:gd name="T41" fmla="*/ 510 h 966"/>
                  <a:gd name="T42" fmla="*/ 636 w 1214"/>
                  <a:gd name="T43" fmla="*/ 522 h 966"/>
                  <a:gd name="T44" fmla="*/ 470 w 1214"/>
                  <a:gd name="T45" fmla="*/ 711 h 966"/>
                  <a:gd name="T46" fmla="*/ 439 w 1214"/>
                  <a:gd name="T47" fmla="*/ 733 h 966"/>
                  <a:gd name="T48" fmla="*/ 192 w 1214"/>
                  <a:gd name="T49" fmla="*/ 834 h 966"/>
                  <a:gd name="T50" fmla="*/ 146 w 1214"/>
                  <a:gd name="T51" fmla="*/ 820 h 966"/>
                  <a:gd name="T52" fmla="*/ 149 w 1214"/>
                  <a:gd name="T53" fmla="*/ 756 h 966"/>
                  <a:gd name="T54" fmla="*/ 164 w 1214"/>
                  <a:gd name="T55" fmla="*/ 722 h 966"/>
                  <a:gd name="T56" fmla="*/ 330 w 1214"/>
                  <a:gd name="T57" fmla="*/ 533 h 966"/>
                  <a:gd name="T58" fmla="*/ 346 w 1214"/>
                  <a:gd name="T59" fmla="*/ 521 h 966"/>
                  <a:gd name="T60" fmla="*/ 391 w 1214"/>
                  <a:gd name="T61" fmla="*/ 660 h 966"/>
                  <a:gd name="T62" fmla="*/ 417 w 1214"/>
                  <a:gd name="T63" fmla="*/ 641 h 966"/>
                  <a:gd name="T64" fmla="*/ 565 w 1214"/>
                  <a:gd name="T65" fmla="*/ 480 h 966"/>
                  <a:gd name="T66" fmla="*/ 577 w 1214"/>
                  <a:gd name="T67" fmla="*/ 457 h 966"/>
                  <a:gd name="T68" fmla="*/ 561 w 1214"/>
                  <a:gd name="T69" fmla="*/ 415 h 966"/>
                  <a:gd name="T70" fmla="*/ 558 w 1214"/>
                  <a:gd name="T71" fmla="*/ 387 h 966"/>
                  <a:gd name="T72" fmla="*/ 596 w 1214"/>
                  <a:gd name="T73" fmla="*/ 295 h 966"/>
                  <a:gd name="T74" fmla="*/ 618 w 1214"/>
                  <a:gd name="T75" fmla="*/ 278 h 966"/>
                  <a:gd name="T76" fmla="*/ 679 w 1214"/>
                  <a:gd name="T77" fmla="*/ 258 h 966"/>
                  <a:gd name="T78" fmla="*/ 688 w 1214"/>
                  <a:gd name="T79" fmla="*/ 257 h 966"/>
                  <a:gd name="T80" fmla="*/ 781 w 1214"/>
                  <a:gd name="T81" fmla="*/ 296 h 966"/>
                  <a:gd name="T82" fmla="*/ 819 w 1214"/>
                  <a:gd name="T83" fmla="*/ 385 h 966"/>
                  <a:gd name="T84" fmla="*/ 790 w 1214"/>
                  <a:gd name="T85" fmla="*/ 470 h 9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14" h="966">
                    <a:moveTo>
                      <a:pt x="1069" y="754"/>
                    </a:moveTo>
                    <a:cubicBezTo>
                      <a:pt x="1080" y="743"/>
                      <a:pt x="1090" y="731"/>
                      <a:pt x="1099" y="719"/>
                    </a:cubicBezTo>
                    <a:cubicBezTo>
                      <a:pt x="1125" y="685"/>
                      <a:pt x="1145" y="649"/>
                      <a:pt x="1159" y="610"/>
                    </a:cubicBezTo>
                    <a:cubicBezTo>
                      <a:pt x="1214" y="461"/>
                      <a:pt x="1183" y="287"/>
                      <a:pt x="1063" y="166"/>
                    </a:cubicBezTo>
                    <a:cubicBezTo>
                      <a:pt x="899" y="1"/>
                      <a:pt x="632" y="0"/>
                      <a:pt x="466" y="164"/>
                    </a:cubicBezTo>
                    <a:cubicBezTo>
                      <a:pt x="411" y="220"/>
                      <a:pt x="374" y="286"/>
                      <a:pt x="356" y="357"/>
                    </a:cubicBezTo>
                    <a:cubicBezTo>
                      <a:pt x="320" y="378"/>
                      <a:pt x="284" y="402"/>
                      <a:pt x="249" y="429"/>
                    </a:cubicBezTo>
                    <a:cubicBezTo>
                      <a:pt x="160" y="498"/>
                      <a:pt x="88" y="581"/>
                      <a:pt x="47" y="661"/>
                    </a:cubicBezTo>
                    <a:cubicBezTo>
                      <a:pt x="10" y="733"/>
                      <a:pt x="0" y="798"/>
                      <a:pt x="16" y="851"/>
                    </a:cubicBezTo>
                    <a:cubicBezTo>
                      <a:pt x="21" y="870"/>
                      <a:pt x="30" y="887"/>
                      <a:pt x="42" y="902"/>
                    </a:cubicBezTo>
                    <a:cubicBezTo>
                      <a:pt x="53" y="916"/>
                      <a:pt x="70" y="932"/>
                      <a:pt x="94" y="944"/>
                    </a:cubicBezTo>
                    <a:cubicBezTo>
                      <a:pt x="118" y="957"/>
                      <a:pt x="150" y="966"/>
                      <a:pt x="192" y="966"/>
                    </a:cubicBezTo>
                    <a:cubicBezTo>
                      <a:pt x="293" y="966"/>
                      <a:pt x="423" y="912"/>
                      <a:pt x="541" y="822"/>
                    </a:cubicBezTo>
                    <a:cubicBezTo>
                      <a:pt x="657" y="894"/>
                      <a:pt x="800" y="905"/>
                      <a:pt x="924" y="854"/>
                    </a:cubicBezTo>
                    <a:cubicBezTo>
                      <a:pt x="974" y="833"/>
                      <a:pt x="1021" y="803"/>
                      <a:pt x="1061" y="763"/>
                    </a:cubicBezTo>
                    <a:cubicBezTo>
                      <a:pt x="1064" y="760"/>
                      <a:pt x="1066" y="757"/>
                      <a:pt x="1069" y="754"/>
                    </a:cubicBezTo>
                    <a:close/>
                    <a:moveTo>
                      <a:pt x="790" y="470"/>
                    </a:moveTo>
                    <a:cubicBezTo>
                      <a:pt x="787" y="473"/>
                      <a:pt x="784" y="477"/>
                      <a:pt x="780" y="480"/>
                    </a:cubicBezTo>
                    <a:cubicBezTo>
                      <a:pt x="779" y="482"/>
                      <a:pt x="777" y="483"/>
                      <a:pt x="776" y="485"/>
                    </a:cubicBezTo>
                    <a:cubicBezTo>
                      <a:pt x="752" y="506"/>
                      <a:pt x="721" y="518"/>
                      <a:pt x="688" y="518"/>
                    </a:cubicBezTo>
                    <a:cubicBezTo>
                      <a:pt x="672" y="518"/>
                      <a:pt x="656" y="515"/>
                      <a:pt x="641" y="510"/>
                    </a:cubicBezTo>
                    <a:cubicBezTo>
                      <a:pt x="640" y="514"/>
                      <a:pt x="638" y="518"/>
                      <a:pt x="636" y="522"/>
                    </a:cubicBezTo>
                    <a:cubicBezTo>
                      <a:pt x="603" y="584"/>
                      <a:pt x="543" y="653"/>
                      <a:pt x="470" y="711"/>
                    </a:cubicBezTo>
                    <a:cubicBezTo>
                      <a:pt x="460" y="718"/>
                      <a:pt x="450" y="726"/>
                      <a:pt x="439" y="733"/>
                    </a:cubicBezTo>
                    <a:cubicBezTo>
                      <a:pt x="352" y="795"/>
                      <a:pt x="258" y="834"/>
                      <a:pt x="192" y="834"/>
                    </a:cubicBezTo>
                    <a:cubicBezTo>
                      <a:pt x="170" y="834"/>
                      <a:pt x="152" y="829"/>
                      <a:pt x="146" y="820"/>
                    </a:cubicBezTo>
                    <a:cubicBezTo>
                      <a:pt x="139" y="811"/>
                      <a:pt x="138" y="789"/>
                      <a:pt x="149" y="756"/>
                    </a:cubicBezTo>
                    <a:cubicBezTo>
                      <a:pt x="153" y="746"/>
                      <a:pt x="158" y="734"/>
                      <a:pt x="164" y="722"/>
                    </a:cubicBezTo>
                    <a:cubicBezTo>
                      <a:pt x="197" y="659"/>
                      <a:pt x="257" y="590"/>
                      <a:pt x="330" y="533"/>
                    </a:cubicBezTo>
                    <a:cubicBezTo>
                      <a:pt x="336" y="529"/>
                      <a:pt x="341" y="525"/>
                      <a:pt x="346" y="521"/>
                    </a:cubicBezTo>
                    <a:cubicBezTo>
                      <a:pt x="353" y="569"/>
                      <a:pt x="367" y="616"/>
                      <a:pt x="391" y="660"/>
                    </a:cubicBezTo>
                    <a:cubicBezTo>
                      <a:pt x="400" y="654"/>
                      <a:pt x="409" y="647"/>
                      <a:pt x="417" y="641"/>
                    </a:cubicBezTo>
                    <a:cubicBezTo>
                      <a:pt x="480" y="591"/>
                      <a:pt x="532" y="534"/>
                      <a:pt x="565" y="480"/>
                    </a:cubicBezTo>
                    <a:cubicBezTo>
                      <a:pt x="570" y="472"/>
                      <a:pt x="574" y="464"/>
                      <a:pt x="577" y="457"/>
                    </a:cubicBezTo>
                    <a:cubicBezTo>
                      <a:pt x="569" y="444"/>
                      <a:pt x="564" y="430"/>
                      <a:pt x="561" y="415"/>
                    </a:cubicBezTo>
                    <a:cubicBezTo>
                      <a:pt x="559" y="406"/>
                      <a:pt x="558" y="397"/>
                      <a:pt x="558" y="387"/>
                    </a:cubicBezTo>
                    <a:cubicBezTo>
                      <a:pt x="558" y="353"/>
                      <a:pt x="571" y="320"/>
                      <a:pt x="596" y="295"/>
                    </a:cubicBezTo>
                    <a:cubicBezTo>
                      <a:pt x="603" y="289"/>
                      <a:pt x="610" y="283"/>
                      <a:pt x="618" y="278"/>
                    </a:cubicBezTo>
                    <a:cubicBezTo>
                      <a:pt x="636" y="266"/>
                      <a:pt x="657" y="259"/>
                      <a:pt x="679" y="258"/>
                    </a:cubicBezTo>
                    <a:cubicBezTo>
                      <a:pt x="682" y="257"/>
                      <a:pt x="685" y="257"/>
                      <a:pt x="688" y="257"/>
                    </a:cubicBezTo>
                    <a:cubicBezTo>
                      <a:pt x="723" y="257"/>
                      <a:pt x="756" y="271"/>
                      <a:pt x="781" y="296"/>
                    </a:cubicBezTo>
                    <a:cubicBezTo>
                      <a:pt x="805" y="321"/>
                      <a:pt x="818" y="353"/>
                      <a:pt x="819" y="385"/>
                    </a:cubicBezTo>
                    <a:cubicBezTo>
                      <a:pt x="819" y="415"/>
                      <a:pt x="810" y="445"/>
                      <a:pt x="790" y="4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noProof="0">
                  <a:ln>
                    <a:noFill/>
                  </a:ln>
                  <a:solidFill>
                    <a:srgbClr val="000000"/>
                  </a:solidFill>
                  <a:effectLst/>
                  <a:uLnTx/>
                  <a:uFillTx/>
                  <a:latin typeface="Ubuntu" panose="020B0504030602030204" pitchFamily="34" charset="0"/>
                  <a:ea typeface="+mn-ea"/>
                  <a:cs typeface="+mn-cs"/>
                </a:endParaRPr>
              </a:p>
            </p:txBody>
          </p:sp>
        </p:grpSp>
      </p:grpSp>
      <p:sp>
        <p:nvSpPr>
          <p:cNvPr id="42" name="TextBox 41">
            <a:extLst>
              <a:ext uri="{FF2B5EF4-FFF2-40B4-BE49-F238E27FC236}">
                <a16:creationId xmlns:a16="http://schemas.microsoft.com/office/drawing/2014/main" id="{0F08F3AC-8331-47DA-904E-56AAE2E666D4}"/>
              </a:ext>
            </a:extLst>
          </p:cNvPr>
          <p:cNvSpPr txBox="1">
            <a:spLocks/>
          </p:cNvSpPr>
          <p:nvPr/>
        </p:nvSpPr>
        <p:spPr>
          <a:xfrm>
            <a:off x="744190" y="5030479"/>
            <a:ext cx="5844370" cy="126188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100"/>
              </a:spcBef>
              <a:spcAft>
                <a:spcPts val="200"/>
              </a:spcAft>
              <a:buClr>
                <a:srgbClr val="0070AD"/>
              </a:buClr>
              <a:buSzTx/>
              <a:buFontTx/>
              <a:buNone/>
              <a:tabLst/>
              <a:defRPr/>
            </a:pPr>
            <a:r>
              <a:rPr kumimoji="0" lang="en-IN" sz="1200" b="0" i="0" u="none" strike="noStrike" kern="1200" cap="none" spc="0" normalizeH="0" baseline="0" noProof="0">
                <a:ln>
                  <a:noFill/>
                </a:ln>
                <a:solidFill>
                  <a:prstClr val="black"/>
                </a:solidFill>
                <a:effectLst/>
                <a:uLnTx/>
                <a:uFillTx/>
                <a:latin typeface="Ubuntu"/>
                <a:ea typeface="+mn-ea"/>
                <a:cs typeface="+mn-cs"/>
              </a:rPr>
              <a:t>Capgemini has delivered a Transformation Program composed of the following :</a:t>
            </a:r>
          </a:p>
          <a:p>
            <a:pPr marL="171450" marR="0" lvl="0" indent="-171450" algn="l" defTabSz="914400" rtl="0" eaLnBrk="1" fontAlgn="auto" latinLnBrk="0" hangingPunct="1">
              <a:lnSpc>
                <a:spcPct val="100000"/>
              </a:lnSpc>
              <a:spcBef>
                <a:spcPts val="100"/>
              </a:spcBef>
              <a:spcAft>
                <a:spcPts val="200"/>
              </a:spcAft>
              <a:buClr>
                <a:srgbClr val="0070AD"/>
              </a:buClr>
              <a:buSzTx/>
              <a:buFont typeface="Wingdings" panose="05000000000000000000" pitchFamily="2" charset="2"/>
              <a:buChar char="Ø"/>
              <a:tabLst/>
              <a:defRPr/>
            </a:pPr>
            <a:r>
              <a:rPr kumimoji="0" lang="en-IN" sz="1200" b="0" i="0" u="none" strike="noStrike" kern="1200" cap="none" spc="0" normalizeH="0" baseline="0" noProof="0">
                <a:ln>
                  <a:noFill/>
                </a:ln>
                <a:solidFill>
                  <a:prstClr val="black"/>
                </a:solidFill>
                <a:effectLst/>
                <a:uLnTx/>
                <a:uFillTx/>
                <a:latin typeface="Ubuntu"/>
                <a:ea typeface="+mn-ea"/>
                <a:cs typeface="+mn-cs"/>
              </a:rPr>
              <a:t>3 programs linked to the key performance objectives</a:t>
            </a:r>
          </a:p>
          <a:p>
            <a:pPr marL="628650" marR="0" lvl="1" indent="-171450" algn="l" defTabSz="914400" rtl="0" eaLnBrk="1" fontAlgn="auto" latinLnBrk="0" hangingPunct="1">
              <a:lnSpc>
                <a:spcPct val="100000"/>
              </a:lnSpc>
              <a:spcBef>
                <a:spcPts val="100"/>
              </a:spcBef>
              <a:spcAft>
                <a:spcPts val="200"/>
              </a:spcAft>
              <a:buClr>
                <a:srgbClr val="0070AD"/>
              </a:buClr>
              <a:buSzTx/>
              <a:buFont typeface="Wingdings" panose="05000000000000000000" pitchFamily="2" charset="2"/>
              <a:buChar char="§"/>
              <a:tabLst/>
              <a:defRPr/>
            </a:pPr>
            <a:r>
              <a:rPr kumimoji="0" lang="en-IN" sz="1200" b="0" i="0" u="none" strike="noStrike" kern="1200" cap="none" spc="0" normalizeH="0" baseline="0" noProof="0">
                <a:ln>
                  <a:noFill/>
                </a:ln>
                <a:solidFill>
                  <a:prstClr val="black"/>
                </a:solidFill>
                <a:effectLst/>
                <a:uLnTx/>
                <a:uFillTx/>
                <a:latin typeface="Ubuntu"/>
                <a:ea typeface="+mn-ea"/>
                <a:cs typeface="+mn-cs"/>
              </a:rPr>
              <a:t>24 discrete work packages</a:t>
            </a:r>
          </a:p>
          <a:p>
            <a:pPr marL="628650" marR="0" lvl="1" indent="-171450" algn="l" defTabSz="914400" rtl="0" eaLnBrk="1" fontAlgn="auto" latinLnBrk="0" hangingPunct="1">
              <a:lnSpc>
                <a:spcPct val="100000"/>
              </a:lnSpc>
              <a:spcBef>
                <a:spcPts val="100"/>
              </a:spcBef>
              <a:spcAft>
                <a:spcPts val="200"/>
              </a:spcAft>
              <a:buClr>
                <a:srgbClr val="0070AD"/>
              </a:buClr>
              <a:buSzTx/>
              <a:buFont typeface="Wingdings" panose="05000000000000000000" pitchFamily="2" charset="2"/>
              <a:buChar char="§"/>
              <a:tabLst/>
              <a:defRPr/>
            </a:pPr>
            <a:r>
              <a:rPr kumimoji="0" lang="en-IN" sz="1200" b="0" i="0" u="none" strike="noStrike" kern="1200" cap="none" spc="0" normalizeH="0" baseline="0" noProof="0">
                <a:ln>
                  <a:noFill/>
                </a:ln>
                <a:solidFill>
                  <a:prstClr val="black"/>
                </a:solidFill>
                <a:effectLst/>
                <a:uLnTx/>
                <a:uFillTx/>
                <a:latin typeface="Ubuntu"/>
                <a:ea typeface="+mn-ea"/>
                <a:cs typeface="+mn-cs"/>
              </a:rPr>
              <a:t>24 months duration</a:t>
            </a:r>
          </a:p>
          <a:p>
            <a:pPr marL="171450" marR="0" lvl="0" indent="-171450" algn="l" defTabSz="914400" rtl="0" eaLnBrk="1" fontAlgn="auto" latinLnBrk="0" hangingPunct="1">
              <a:lnSpc>
                <a:spcPct val="100000"/>
              </a:lnSpc>
              <a:spcBef>
                <a:spcPts val="100"/>
              </a:spcBef>
              <a:spcAft>
                <a:spcPts val="200"/>
              </a:spcAft>
              <a:buClr>
                <a:srgbClr val="0070AD"/>
              </a:buClr>
              <a:buSzTx/>
              <a:buFont typeface="Wingdings" panose="05000000000000000000" pitchFamily="2" charset="2"/>
              <a:buChar char="Ø"/>
              <a:tabLst/>
              <a:defRPr/>
            </a:pPr>
            <a:r>
              <a:rPr kumimoji="0" lang="en-IN" sz="1200" b="0" i="0" u="none" strike="noStrike" kern="1200" cap="none" spc="0" normalizeH="0" baseline="0" noProof="0">
                <a:ln>
                  <a:noFill/>
                </a:ln>
                <a:solidFill>
                  <a:prstClr val="black"/>
                </a:solidFill>
                <a:effectLst/>
                <a:uLnTx/>
                <a:uFillTx/>
                <a:latin typeface="Ubuntu"/>
                <a:ea typeface="+mn-ea"/>
                <a:cs typeface="+mn-cs"/>
              </a:rPr>
              <a:t>The client has started the Transformation Program on the 1st of June with the discovery of 4 work packages</a:t>
            </a:r>
            <a:endParaRPr kumimoji="0" lang="en-US" sz="1200" b="0" i="0" u="none" strike="noStrike" kern="1200" cap="none" spc="0" normalizeH="0" baseline="0" noProof="0">
              <a:ln>
                <a:noFill/>
              </a:ln>
              <a:solidFill>
                <a:prstClr val="black"/>
              </a:solidFill>
              <a:effectLst/>
              <a:uLnTx/>
              <a:uFillTx/>
              <a:latin typeface="Ubuntu"/>
              <a:ea typeface="+mn-ea"/>
              <a:cs typeface="+mn-cs"/>
            </a:endParaRPr>
          </a:p>
        </p:txBody>
      </p:sp>
      <p:grpSp>
        <p:nvGrpSpPr>
          <p:cNvPr id="9" name="Group 8">
            <a:extLst>
              <a:ext uri="{FF2B5EF4-FFF2-40B4-BE49-F238E27FC236}">
                <a16:creationId xmlns:a16="http://schemas.microsoft.com/office/drawing/2014/main" id="{F197E89B-58AE-420F-8D66-B066C814EA94}"/>
              </a:ext>
            </a:extLst>
          </p:cNvPr>
          <p:cNvGrpSpPr/>
          <p:nvPr/>
        </p:nvGrpSpPr>
        <p:grpSpPr>
          <a:xfrm>
            <a:off x="320133" y="4450935"/>
            <a:ext cx="2640237" cy="520776"/>
            <a:chOff x="320133" y="4797658"/>
            <a:chExt cx="2640237" cy="520776"/>
          </a:xfrm>
        </p:grpSpPr>
        <p:sp>
          <p:nvSpPr>
            <p:cNvPr id="44" name="Rectangle: Top Corners Snipped 46">
              <a:extLst>
                <a:ext uri="{FF2B5EF4-FFF2-40B4-BE49-F238E27FC236}">
                  <a16:creationId xmlns:a16="http://schemas.microsoft.com/office/drawing/2014/main" id="{225A8E92-E21E-430D-88A6-8EE366C89ABB}"/>
                </a:ext>
              </a:extLst>
            </p:cNvPr>
            <p:cNvSpPr>
              <a:spLocks/>
            </p:cNvSpPr>
            <p:nvPr/>
          </p:nvSpPr>
          <p:spPr>
            <a:xfrm>
              <a:off x="781361" y="4900889"/>
              <a:ext cx="2179009" cy="309261"/>
            </a:xfrm>
            <a:prstGeom prst="rect">
              <a:avLst/>
            </a:prstGeom>
            <a:solidFill>
              <a:schemeClr val="accent2"/>
            </a:solid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prstClr val="white"/>
                  </a:solidFill>
                  <a:effectLst/>
                  <a:uLnTx/>
                  <a:uFillTx/>
                  <a:latin typeface="Ubuntu" panose="020B0504030602030204" pitchFamily="34" charset="0"/>
                  <a:ea typeface="+mn-ea"/>
                  <a:cs typeface="+mn-cs"/>
                </a:rPr>
                <a:t>   Outcome</a:t>
              </a:r>
            </a:p>
          </p:txBody>
        </p:sp>
        <p:sp>
          <p:nvSpPr>
            <p:cNvPr id="45" name="Oval 44">
              <a:extLst>
                <a:ext uri="{FF2B5EF4-FFF2-40B4-BE49-F238E27FC236}">
                  <a16:creationId xmlns:a16="http://schemas.microsoft.com/office/drawing/2014/main" id="{AD111B1F-4F6A-4188-8769-7C3D037B1B4F}"/>
                </a:ext>
              </a:extLst>
            </p:cNvPr>
            <p:cNvSpPr/>
            <p:nvPr/>
          </p:nvSpPr>
          <p:spPr>
            <a:xfrm>
              <a:off x="320133" y="4797658"/>
              <a:ext cx="520776" cy="520776"/>
            </a:xfrm>
            <a:prstGeom prst="ellipse">
              <a:avLst/>
            </a:prstGeom>
            <a:solidFill>
              <a:schemeClr val="accent2">
                <a:lumMod val="50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Ubuntu" panose="020B0504030602030204" pitchFamily="34" charset="0"/>
                <a:ea typeface="+mn-ea"/>
                <a:cs typeface="+mn-cs"/>
              </a:endParaRPr>
            </a:p>
          </p:txBody>
        </p:sp>
        <p:grpSp>
          <p:nvGrpSpPr>
            <p:cNvPr id="46" name="Group 45">
              <a:extLst>
                <a:ext uri="{FF2B5EF4-FFF2-40B4-BE49-F238E27FC236}">
                  <a16:creationId xmlns:a16="http://schemas.microsoft.com/office/drawing/2014/main" id="{27326F21-18BA-4A4A-8DFB-C43BF6CBD01C}"/>
                </a:ext>
              </a:extLst>
            </p:cNvPr>
            <p:cNvGrpSpPr/>
            <p:nvPr/>
          </p:nvGrpSpPr>
          <p:grpSpPr>
            <a:xfrm>
              <a:off x="428544" y="4899759"/>
              <a:ext cx="315646" cy="316574"/>
              <a:chOff x="12988925" y="1597025"/>
              <a:chExt cx="6483350" cy="6502400"/>
            </a:xfrm>
            <a:solidFill>
              <a:schemeClr val="bg1"/>
            </a:solidFill>
          </p:grpSpPr>
          <p:sp>
            <p:nvSpPr>
              <p:cNvPr id="47" name="Freeform 135">
                <a:extLst>
                  <a:ext uri="{FF2B5EF4-FFF2-40B4-BE49-F238E27FC236}">
                    <a16:creationId xmlns:a16="http://schemas.microsoft.com/office/drawing/2014/main" id="{987ED275-C83A-44D5-BC48-3DCA320EB659}"/>
                  </a:ext>
                </a:extLst>
              </p:cNvPr>
              <p:cNvSpPr>
                <a:spLocks/>
              </p:cNvSpPr>
              <p:nvPr/>
            </p:nvSpPr>
            <p:spPr bwMode="auto">
              <a:xfrm>
                <a:off x="12988925" y="2178050"/>
                <a:ext cx="2371725" cy="2667000"/>
              </a:xfrm>
              <a:custGeom>
                <a:avLst/>
                <a:gdLst>
                  <a:gd name="T0" fmla="*/ 966 w 1494"/>
                  <a:gd name="T1" fmla="*/ 1680 h 1680"/>
                  <a:gd name="T2" fmla="*/ 928 w 1494"/>
                  <a:gd name="T3" fmla="*/ 1680 h 1680"/>
                  <a:gd name="T4" fmla="*/ 850 w 1494"/>
                  <a:gd name="T5" fmla="*/ 1670 h 1680"/>
                  <a:gd name="T6" fmla="*/ 776 w 1494"/>
                  <a:gd name="T7" fmla="*/ 1650 h 1680"/>
                  <a:gd name="T8" fmla="*/ 704 w 1494"/>
                  <a:gd name="T9" fmla="*/ 1620 h 1680"/>
                  <a:gd name="T10" fmla="*/ 638 w 1494"/>
                  <a:gd name="T11" fmla="*/ 1582 h 1680"/>
                  <a:gd name="T12" fmla="*/ 576 w 1494"/>
                  <a:gd name="T13" fmla="*/ 1536 h 1680"/>
                  <a:gd name="T14" fmla="*/ 522 w 1494"/>
                  <a:gd name="T15" fmla="*/ 1484 h 1680"/>
                  <a:gd name="T16" fmla="*/ 474 w 1494"/>
                  <a:gd name="T17" fmla="*/ 1422 h 1680"/>
                  <a:gd name="T18" fmla="*/ 452 w 1494"/>
                  <a:gd name="T19" fmla="*/ 1390 h 1680"/>
                  <a:gd name="T20" fmla="*/ 406 w 1494"/>
                  <a:gd name="T21" fmla="*/ 1310 h 1680"/>
                  <a:gd name="T22" fmla="*/ 332 w 1494"/>
                  <a:gd name="T23" fmla="*/ 1168 h 1680"/>
                  <a:gd name="T24" fmla="*/ 264 w 1494"/>
                  <a:gd name="T25" fmla="*/ 1026 h 1680"/>
                  <a:gd name="T26" fmla="*/ 204 w 1494"/>
                  <a:gd name="T27" fmla="*/ 882 h 1680"/>
                  <a:gd name="T28" fmla="*/ 152 w 1494"/>
                  <a:gd name="T29" fmla="*/ 734 h 1680"/>
                  <a:gd name="T30" fmla="*/ 106 w 1494"/>
                  <a:gd name="T31" fmla="*/ 588 h 1680"/>
                  <a:gd name="T32" fmla="*/ 68 w 1494"/>
                  <a:gd name="T33" fmla="*/ 438 h 1680"/>
                  <a:gd name="T34" fmla="*/ 38 w 1494"/>
                  <a:gd name="T35" fmla="*/ 288 h 1680"/>
                  <a:gd name="T36" fmla="*/ 16 w 1494"/>
                  <a:gd name="T37" fmla="*/ 136 h 1680"/>
                  <a:gd name="T38" fmla="*/ 780 w 1494"/>
                  <a:gd name="T39" fmla="*/ 0 h 1680"/>
                  <a:gd name="T40" fmla="*/ 274 w 1494"/>
                  <a:gd name="T41" fmla="*/ 240 h 1680"/>
                  <a:gd name="T42" fmla="*/ 286 w 1494"/>
                  <a:gd name="T43" fmla="*/ 302 h 1680"/>
                  <a:gd name="T44" fmla="*/ 312 w 1494"/>
                  <a:gd name="T45" fmla="*/ 424 h 1680"/>
                  <a:gd name="T46" fmla="*/ 344 w 1494"/>
                  <a:gd name="T47" fmla="*/ 546 h 1680"/>
                  <a:gd name="T48" fmla="*/ 382 w 1494"/>
                  <a:gd name="T49" fmla="*/ 666 h 1680"/>
                  <a:gd name="T50" fmla="*/ 424 w 1494"/>
                  <a:gd name="T51" fmla="*/ 784 h 1680"/>
                  <a:gd name="T52" fmla="*/ 472 w 1494"/>
                  <a:gd name="T53" fmla="*/ 902 h 1680"/>
                  <a:gd name="T54" fmla="*/ 526 w 1494"/>
                  <a:gd name="T55" fmla="*/ 1020 h 1680"/>
                  <a:gd name="T56" fmla="*/ 584 w 1494"/>
                  <a:gd name="T57" fmla="*/ 1134 h 1680"/>
                  <a:gd name="T58" fmla="*/ 616 w 1494"/>
                  <a:gd name="T59" fmla="*/ 1192 h 1680"/>
                  <a:gd name="T60" fmla="*/ 658 w 1494"/>
                  <a:gd name="T61" fmla="*/ 1266 h 1680"/>
                  <a:gd name="T62" fmla="*/ 686 w 1494"/>
                  <a:gd name="T63" fmla="*/ 1304 h 1680"/>
                  <a:gd name="T64" fmla="*/ 716 w 1494"/>
                  <a:gd name="T65" fmla="*/ 1340 h 1680"/>
                  <a:gd name="T66" fmla="*/ 752 w 1494"/>
                  <a:gd name="T67" fmla="*/ 1368 h 1680"/>
                  <a:gd name="T68" fmla="*/ 790 w 1494"/>
                  <a:gd name="T69" fmla="*/ 1394 h 1680"/>
                  <a:gd name="T70" fmla="*/ 830 w 1494"/>
                  <a:gd name="T71" fmla="*/ 1414 h 1680"/>
                  <a:gd name="T72" fmla="*/ 874 w 1494"/>
                  <a:gd name="T73" fmla="*/ 1428 h 1680"/>
                  <a:gd name="T74" fmla="*/ 920 w 1494"/>
                  <a:gd name="T75" fmla="*/ 1438 h 1680"/>
                  <a:gd name="T76" fmla="*/ 966 w 1494"/>
                  <a:gd name="T77" fmla="*/ 1440 h 1680"/>
                  <a:gd name="T78" fmla="*/ 1494 w 1494"/>
                  <a:gd name="T79" fmla="*/ 1680 h 1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94" h="1680">
                    <a:moveTo>
                      <a:pt x="1494" y="1680"/>
                    </a:moveTo>
                    <a:lnTo>
                      <a:pt x="966" y="1680"/>
                    </a:lnTo>
                    <a:lnTo>
                      <a:pt x="966" y="1680"/>
                    </a:lnTo>
                    <a:lnTo>
                      <a:pt x="928" y="1680"/>
                    </a:lnTo>
                    <a:lnTo>
                      <a:pt x="888" y="1676"/>
                    </a:lnTo>
                    <a:lnTo>
                      <a:pt x="850" y="1670"/>
                    </a:lnTo>
                    <a:lnTo>
                      <a:pt x="812" y="1660"/>
                    </a:lnTo>
                    <a:lnTo>
                      <a:pt x="776" y="1650"/>
                    </a:lnTo>
                    <a:lnTo>
                      <a:pt x="740" y="1636"/>
                    </a:lnTo>
                    <a:lnTo>
                      <a:pt x="704" y="1620"/>
                    </a:lnTo>
                    <a:lnTo>
                      <a:pt x="670" y="1602"/>
                    </a:lnTo>
                    <a:lnTo>
                      <a:pt x="638" y="1582"/>
                    </a:lnTo>
                    <a:lnTo>
                      <a:pt x="606" y="1560"/>
                    </a:lnTo>
                    <a:lnTo>
                      <a:pt x="576" y="1536"/>
                    </a:lnTo>
                    <a:lnTo>
                      <a:pt x="548" y="1510"/>
                    </a:lnTo>
                    <a:lnTo>
                      <a:pt x="522" y="1484"/>
                    </a:lnTo>
                    <a:lnTo>
                      <a:pt x="496" y="1454"/>
                    </a:lnTo>
                    <a:lnTo>
                      <a:pt x="474" y="1422"/>
                    </a:lnTo>
                    <a:lnTo>
                      <a:pt x="452" y="1390"/>
                    </a:lnTo>
                    <a:lnTo>
                      <a:pt x="452" y="1390"/>
                    </a:lnTo>
                    <a:lnTo>
                      <a:pt x="406" y="1310"/>
                    </a:lnTo>
                    <a:lnTo>
                      <a:pt x="406" y="1310"/>
                    </a:lnTo>
                    <a:lnTo>
                      <a:pt x="368" y="1238"/>
                    </a:lnTo>
                    <a:lnTo>
                      <a:pt x="332" y="1168"/>
                    </a:lnTo>
                    <a:lnTo>
                      <a:pt x="296" y="1098"/>
                    </a:lnTo>
                    <a:lnTo>
                      <a:pt x="264" y="1026"/>
                    </a:lnTo>
                    <a:lnTo>
                      <a:pt x="234" y="954"/>
                    </a:lnTo>
                    <a:lnTo>
                      <a:pt x="204" y="882"/>
                    </a:lnTo>
                    <a:lnTo>
                      <a:pt x="178" y="808"/>
                    </a:lnTo>
                    <a:lnTo>
                      <a:pt x="152" y="734"/>
                    </a:lnTo>
                    <a:lnTo>
                      <a:pt x="128" y="662"/>
                    </a:lnTo>
                    <a:lnTo>
                      <a:pt x="106" y="588"/>
                    </a:lnTo>
                    <a:lnTo>
                      <a:pt x="86" y="512"/>
                    </a:lnTo>
                    <a:lnTo>
                      <a:pt x="68" y="438"/>
                    </a:lnTo>
                    <a:lnTo>
                      <a:pt x="52" y="362"/>
                    </a:lnTo>
                    <a:lnTo>
                      <a:pt x="38" y="288"/>
                    </a:lnTo>
                    <a:lnTo>
                      <a:pt x="26" y="212"/>
                    </a:lnTo>
                    <a:lnTo>
                      <a:pt x="16" y="136"/>
                    </a:lnTo>
                    <a:lnTo>
                      <a:pt x="0" y="0"/>
                    </a:lnTo>
                    <a:lnTo>
                      <a:pt x="780" y="0"/>
                    </a:lnTo>
                    <a:lnTo>
                      <a:pt x="780" y="240"/>
                    </a:lnTo>
                    <a:lnTo>
                      <a:pt x="274" y="240"/>
                    </a:lnTo>
                    <a:lnTo>
                      <a:pt x="274" y="240"/>
                    </a:lnTo>
                    <a:lnTo>
                      <a:pt x="286" y="302"/>
                    </a:lnTo>
                    <a:lnTo>
                      <a:pt x="298" y="364"/>
                    </a:lnTo>
                    <a:lnTo>
                      <a:pt x="312" y="424"/>
                    </a:lnTo>
                    <a:lnTo>
                      <a:pt x="328" y="484"/>
                    </a:lnTo>
                    <a:lnTo>
                      <a:pt x="344" y="546"/>
                    </a:lnTo>
                    <a:lnTo>
                      <a:pt x="362" y="606"/>
                    </a:lnTo>
                    <a:lnTo>
                      <a:pt x="382" y="666"/>
                    </a:lnTo>
                    <a:lnTo>
                      <a:pt x="402" y="726"/>
                    </a:lnTo>
                    <a:lnTo>
                      <a:pt x="424" y="784"/>
                    </a:lnTo>
                    <a:lnTo>
                      <a:pt x="448" y="844"/>
                    </a:lnTo>
                    <a:lnTo>
                      <a:pt x="472" y="902"/>
                    </a:lnTo>
                    <a:lnTo>
                      <a:pt x="498" y="962"/>
                    </a:lnTo>
                    <a:lnTo>
                      <a:pt x="526" y="1020"/>
                    </a:lnTo>
                    <a:lnTo>
                      <a:pt x="554" y="1078"/>
                    </a:lnTo>
                    <a:lnTo>
                      <a:pt x="584" y="1134"/>
                    </a:lnTo>
                    <a:lnTo>
                      <a:pt x="616" y="1192"/>
                    </a:lnTo>
                    <a:lnTo>
                      <a:pt x="616" y="1192"/>
                    </a:lnTo>
                    <a:lnTo>
                      <a:pt x="658" y="1266"/>
                    </a:lnTo>
                    <a:lnTo>
                      <a:pt x="658" y="1266"/>
                    </a:lnTo>
                    <a:lnTo>
                      <a:pt x="672" y="1286"/>
                    </a:lnTo>
                    <a:lnTo>
                      <a:pt x="686" y="1304"/>
                    </a:lnTo>
                    <a:lnTo>
                      <a:pt x="700" y="1322"/>
                    </a:lnTo>
                    <a:lnTo>
                      <a:pt x="716" y="1340"/>
                    </a:lnTo>
                    <a:lnTo>
                      <a:pt x="734" y="1354"/>
                    </a:lnTo>
                    <a:lnTo>
                      <a:pt x="752" y="1368"/>
                    </a:lnTo>
                    <a:lnTo>
                      <a:pt x="770" y="1382"/>
                    </a:lnTo>
                    <a:lnTo>
                      <a:pt x="790" y="1394"/>
                    </a:lnTo>
                    <a:lnTo>
                      <a:pt x="810" y="1404"/>
                    </a:lnTo>
                    <a:lnTo>
                      <a:pt x="830" y="1414"/>
                    </a:lnTo>
                    <a:lnTo>
                      <a:pt x="852" y="1422"/>
                    </a:lnTo>
                    <a:lnTo>
                      <a:pt x="874" y="1428"/>
                    </a:lnTo>
                    <a:lnTo>
                      <a:pt x="898" y="1434"/>
                    </a:lnTo>
                    <a:lnTo>
                      <a:pt x="920" y="1438"/>
                    </a:lnTo>
                    <a:lnTo>
                      <a:pt x="944" y="1440"/>
                    </a:lnTo>
                    <a:lnTo>
                      <a:pt x="966" y="1440"/>
                    </a:lnTo>
                    <a:lnTo>
                      <a:pt x="1494" y="1440"/>
                    </a:lnTo>
                    <a:lnTo>
                      <a:pt x="1494" y="1680"/>
                    </a:lnTo>
                    <a:lnTo>
                      <a:pt x="1494" y="168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Ubuntu" panose="020B0504030602030204" pitchFamily="34" charset="0"/>
                  <a:ea typeface="+mn-ea"/>
                  <a:cs typeface="+mn-cs"/>
                </a:endParaRPr>
              </a:p>
            </p:txBody>
          </p:sp>
          <p:sp>
            <p:nvSpPr>
              <p:cNvPr id="48" name="Freeform 136">
                <a:extLst>
                  <a:ext uri="{FF2B5EF4-FFF2-40B4-BE49-F238E27FC236}">
                    <a16:creationId xmlns:a16="http://schemas.microsoft.com/office/drawing/2014/main" id="{BF087760-B652-4A4B-8446-75CF57BC1B38}"/>
                  </a:ext>
                </a:extLst>
              </p:cNvPr>
              <p:cNvSpPr>
                <a:spLocks/>
              </p:cNvSpPr>
              <p:nvPr/>
            </p:nvSpPr>
            <p:spPr bwMode="auto">
              <a:xfrm>
                <a:off x="13931900" y="1597025"/>
                <a:ext cx="4597400" cy="4759325"/>
              </a:xfrm>
              <a:custGeom>
                <a:avLst/>
                <a:gdLst>
                  <a:gd name="T0" fmla="*/ 2896 w 2896"/>
                  <a:gd name="T1" fmla="*/ 142 h 2998"/>
                  <a:gd name="T2" fmla="*/ 2716 w 2896"/>
                  <a:gd name="T3" fmla="*/ 110 h 2998"/>
                  <a:gd name="T4" fmla="*/ 2356 w 2896"/>
                  <a:gd name="T5" fmla="*/ 56 h 2998"/>
                  <a:gd name="T6" fmla="*/ 1994 w 2896"/>
                  <a:gd name="T7" fmla="*/ 20 h 2998"/>
                  <a:gd name="T8" fmla="*/ 1630 w 2896"/>
                  <a:gd name="T9" fmla="*/ 2 h 2998"/>
                  <a:gd name="T10" fmla="*/ 1266 w 2896"/>
                  <a:gd name="T11" fmla="*/ 2 h 2998"/>
                  <a:gd name="T12" fmla="*/ 902 w 2896"/>
                  <a:gd name="T13" fmla="*/ 20 h 2998"/>
                  <a:gd name="T14" fmla="*/ 540 w 2896"/>
                  <a:gd name="T15" fmla="*/ 56 h 2998"/>
                  <a:gd name="T16" fmla="*/ 180 w 2896"/>
                  <a:gd name="T17" fmla="*/ 110 h 2998"/>
                  <a:gd name="T18" fmla="*/ 0 w 2896"/>
                  <a:gd name="T19" fmla="*/ 142 h 2998"/>
                  <a:gd name="T20" fmla="*/ 2 w 2896"/>
                  <a:gd name="T21" fmla="*/ 222 h 2998"/>
                  <a:gd name="T22" fmla="*/ 12 w 2896"/>
                  <a:gd name="T23" fmla="*/ 382 h 2998"/>
                  <a:gd name="T24" fmla="*/ 36 w 2896"/>
                  <a:gd name="T25" fmla="*/ 542 h 2998"/>
                  <a:gd name="T26" fmla="*/ 68 w 2896"/>
                  <a:gd name="T27" fmla="*/ 702 h 2998"/>
                  <a:gd name="T28" fmla="*/ 110 w 2896"/>
                  <a:gd name="T29" fmla="*/ 858 h 2998"/>
                  <a:gd name="T30" fmla="*/ 164 w 2896"/>
                  <a:gd name="T31" fmla="*/ 1012 h 2998"/>
                  <a:gd name="T32" fmla="*/ 226 w 2896"/>
                  <a:gd name="T33" fmla="*/ 1164 h 2998"/>
                  <a:gd name="T34" fmla="*/ 296 w 2896"/>
                  <a:gd name="T35" fmla="*/ 1310 h 2998"/>
                  <a:gd name="T36" fmla="*/ 376 w 2896"/>
                  <a:gd name="T37" fmla="*/ 1452 h 2998"/>
                  <a:gd name="T38" fmla="*/ 464 w 2896"/>
                  <a:gd name="T39" fmla="*/ 1590 h 2998"/>
                  <a:gd name="T40" fmla="*/ 560 w 2896"/>
                  <a:gd name="T41" fmla="*/ 1720 h 2998"/>
                  <a:gd name="T42" fmla="*/ 664 w 2896"/>
                  <a:gd name="T43" fmla="*/ 1844 h 2998"/>
                  <a:gd name="T44" fmla="*/ 774 w 2896"/>
                  <a:gd name="T45" fmla="*/ 1960 h 2998"/>
                  <a:gd name="T46" fmla="*/ 890 w 2896"/>
                  <a:gd name="T47" fmla="*/ 2070 h 2998"/>
                  <a:gd name="T48" fmla="*/ 1012 w 2896"/>
                  <a:gd name="T49" fmla="*/ 2168 h 2998"/>
                  <a:gd name="T50" fmla="*/ 1142 w 2896"/>
                  <a:gd name="T51" fmla="*/ 2258 h 2998"/>
                  <a:gd name="T52" fmla="*/ 1208 w 2896"/>
                  <a:gd name="T53" fmla="*/ 2998 h 2998"/>
                  <a:gd name="T54" fmla="*/ 1688 w 2896"/>
                  <a:gd name="T55" fmla="*/ 2298 h 2998"/>
                  <a:gd name="T56" fmla="*/ 1754 w 2896"/>
                  <a:gd name="T57" fmla="*/ 2258 h 2998"/>
                  <a:gd name="T58" fmla="*/ 1884 w 2896"/>
                  <a:gd name="T59" fmla="*/ 2168 h 2998"/>
                  <a:gd name="T60" fmla="*/ 2006 w 2896"/>
                  <a:gd name="T61" fmla="*/ 2070 h 2998"/>
                  <a:gd name="T62" fmla="*/ 2122 w 2896"/>
                  <a:gd name="T63" fmla="*/ 1960 h 2998"/>
                  <a:gd name="T64" fmla="*/ 2232 w 2896"/>
                  <a:gd name="T65" fmla="*/ 1844 h 2998"/>
                  <a:gd name="T66" fmla="*/ 2336 w 2896"/>
                  <a:gd name="T67" fmla="*/ 1720 h 2998"/>
                  <a:gd name="T68" fmla="*/ 2432 w 2896"/>
                  <a:gd name="T69" fmla="*/ 1590 h 2998"/>
                  <a:gd name="T70" fmla="*/ 2520 w 2896"/>
                  <a:gd name="T71" fmla="*/ 1452 h 2998"/>
                  <a:gd name="T72" fmla="*/ 2600 w 2896"/>
                  <a:gd name="T73" fmla="*/ 1310 h 2998"/>
                  <a:gd name="T74" fmla="*/ 2670 w 2896"/>
                  <a:gd name="T75" fmla="*/ 1164 h 2998"/>
                  <a:gd name="T76" fmla="*/ 2732 w 2896"/>
                  <a:gd name="T77" fmla="*/ 1012 h 2998"/>
                  <a:gd name="T78" fmla="*/ 2786 w 2896"/>
                  <a:gd name="T79" fmla="*/ 858 h 2998"/>
                  <a:gd name="T80" fmla="*/ 2828 w 2896"/>
                  <a:gd name="T81" fmla="*/ 702 h 2998"/>
                  <a:gd name="T82" fmla="*/ 2860 w 2896"/>
                  <a:gd name="T83" fmla="*/ 542 h 2998"/>
                  <a:gd name="T84" fmla="*/ 2884 w 2896"/>
                  <a:gd name="T85" fmla="*/ 382 h 2998"/>
                  <a:gd name="T86" fmla="*/ 2894 w 2896"/>
                  <a:gd name="T87" fmla="*/ 222 h 2998"/>
                  <a:gd name="T88" fmla="*/ 2896 w 2896"/>
                  <a:gd name="T89" fmla="*/ 142 h 29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896" h="2998">
                    <a:moveTo>
                      <a:pt x="2896" y="142"/>
                    </a:moveTo>
                    <a:lnTo>
                      <a:pt x="2896" y="142"/>
                    </a:lnTo>
                    <a:lnTo>
                      <a:pt x="2896" y="142"/>
                    </a:lnTo>
                    <a:lnTo>
                      <a:pt x="2716" y="110"/>
                    </a:lnTo>
                    <a:lnTo>
                      <a:pt x="2536" y="80"/>
                    </a:lnTo>
                    <a:lnTo>
                      <a:pt x="2356" y="56"/>
                    </a:lnTo>
                    <a:lnTo>
                      <a:pt x="2174" y="36"/>
                    </a:lnTo>
                    <a:lnTo>
                      <a:pt x="1994" y="20"/>
                    </a:lnTo>
                    <a:lnTo>
                      <a:pt x="1812" y="8"/>
                    </a:lnTo>
                    <a:lnTo>
                      <a:pt x="1630" y="2"/>
                    </a:lnTo>
                    <a:lnTo>
                      <a:pt x="1448" y="0"/>
                    </a:lnTo>
                    <a:lnTo>
                      <a:pt x="1266" y="2"/>
                    </a:lnTo>
                    <a:lnTo>
                      <a:pt x="1084" y="8"/>
                    </a:lnTo>
                    <a:lnTo>
                      <a:pt x="902" y="20"/>
                    </a:lnTo>
                    <a:lnTo>
                      <a:pt x="722" y="36"/>
                    </a:lnTo>
                    <a:lnTo>
                      <a:pt x="540" y="56"/>
                    </a:lnTo>
                    <a:lnTo>
                      <a:pt x="360" y="80"/>
                    </a:lnTo>
                    <a:lnTo>
                      <a:pt x="180" y="110"/>
                    </a:lnTo>
                    <a:lnTo>
                      <a:pt x="0" y="142"/>
                    </a:lnTo>
                    <a:lnTo>
                      <a:pt x="0" y="142"/>
                    </a:lnTo>
                    <a:lnTo>
                      <a:pt x="0" y="142"/>
                    </a:lnTo>
                    <a:lnTo>
                      <a:pt x="2" y="222"/>
                    </a:lnTo>
                    <a:lnTo>
                      <a:pt x="6" y="302"/>
                    </a:lnTo>
                    <a:lnTo>
                      <a:pt x="12" y="382"/>
                    </a:lnTo>
                    <a:lnTo>
                      <a:pt x="22" y="462"/>
                    </a:lnTo>
                    <a:lnTo>
                      <a:pt x="36" y="542"/>
                    </a:lnTo>
                    <a:lnTo>
                      <a:pt x="50" y="622"/>
                    </a:lnTo>
                    <a:lnTo>
                      <a:pt x="68" y="702"/>
                    </a:lnTo>
                    <a:lnTo>
                      <a:pt x="88" y="780"/>
                    </a:lnTo>
                    <a:lnTo>
                      <a:pt x="110" y="858"/>
                    </a:lnTo>
                    <a:lnTo>
                      <a:pt x="136" y="936"/>
                    </a:lnTo>
                    <a:lnTo>
                      <a:pt x="164" y="1012"/>
                    </a:lnTo>
                    <a:lnTo>
                      <a:pt x="194" y="1088"/>
                    </a:lnTo>
                    <a:lnTo>
                      <a:pt x="226" y="1164"/>
                    </a:lnTo>
                    <a:lnTo>
                      <a:pt x="260" y="1238"/>
                    </a:lnTo>
                    <a:lnTo>
                      <a:pt x="296" y="1310"/>
                    </a:lnTo>
                    <a:lnTo>
                      <a:pt x="336" y="1382"/>
                    </a:lnTo>
                    <a:lnTo>
                      <a:pt x="376" y="1452"/>
                    </a:lnTo>
                    <a:lnTo>
                      <a:pt x="420" y="1522"/>
                    </a:lnTo>
                    <a:lnTo>
                      <a:pt x="464" y="1590"/>
                    </a:lnTo>
                    <a:lnTo>
                      <a:pt x="512" y="1656"/>
                    </a:lnTo>
                    <a:lnTo>
                      <a:pt x="560" y="1720"/>
                    </a:lnTo>
                    <a:lnTo>
                      <a:pt x="610" y="1784"/>
                    </a:lnTo>
                    <a:lnTo>
                      <a:pt x="664" y="1844"/>
                    </a:lnTo>
                    <a:lnTo>
                      <a:pt x="718" y="1904"/>
                    </a:lnTo>
                    <a:lnTo>
                      <a:pt x="774" y="1960"/>
                    </a:lnTo>
                    <a:lnTo>
                      <a:pt x="830" y="2016"/>
                    </a:lnTo>
                    <a:lnTo>
                      <a:pt x="890" y="2070"/>
                    </a:lnTo>
                    <a:lnTo>
                      <a:pt x="950" y="2120"/>
                    </a:lnTo>
                    <a:lnTo>
                      <a:pt x="1012" y="2168"/>
                    </a:lnTo>
                    <a:lnTo>
                      <a:pt x="1076" y="2214"/>
                    </a:lnTo>
                    <a:lnTo>
                      <a:pt x="1142" y="2258"/>
                    </a:lnTo>
                    <a:lnTo>
                      <a:pt x="1208" y="2298"/>
                    </a:lnTo>
                    <a:lnTo>
                      <a:pt x="1208" y="2998"/>
                    </a:lnTo>
                    <a:lnTo>
                      <a:pt x="1688" y="2998"/>
                    </a:lnTo>
                    <a:lnTo>
                      <a:pt x="1688" y="2298"/>
                    </a:lnTo>
                    <a:lnTo>
                      <a:pt x="1688" y="2298"/>
                    </a:lnTo>
                    <a:lnTo>
                      <a:pt x="1754" y="2258"/>
                    </a:lnTo>
                    <a:lnTo>
                      <a:pt x="1820" y="2214"/>
                    </a:lnTo>
                    <a:lnTo>
                      <a:pt x="1884" y="2168"/>
                    </a:lnTo>
                    <a:lnTo>
                      <a:pt x="1946" y="2120"/>
                    </a:lnTo>
                    <a:lnTo>
                      <a:pt x="2006" y="2070"/>
                    </a:lnTo>
                    <a:lnTo>
                      <a:pt x="2066" y="2016"/>
                    </a:lnTo>
                    <a:lnTo>
                      <a:pt x="2122" y="1960"/>
                    </a:lnTo>
                    <a:lnTo>
                      <a:pt x="2178" y="1904"/>
                    </a:lnTo>
                    <a:lnTo>
                      <a:pt x="2232" y="1844"/>
                    </a:lnTo>
                    <a:lnTo>
                      <a:pt x="2286" y="1784"/>
                    </a:lnTo>
                    <a:lnTo>
                      <a:pt x="2336" y="1720"/>
                    </a:lnTo>
                    <a:lnTo>
                      <a:pt x="2384" y="1656"/>
                    </a:lnTo>
                    <a:lnTo>
                      <a:pt x="2432" y="1590"/>
                    </a:lnTo>
                    <a:lnTo>
                      <a:pt x="2476" y="1522"/>
                    </a:lnTo>
                    <a:lnTo>
                      <a:pt x="2520" y="1452"/>
                    </a:lnTo>
                    <a:lnTo>
                      <a:pt x="2560" y="1382"/>
                    </a:lnTo>
                    <a:lnTo>
                      <a:pt x="2600" y="1310"/>
                    </a:lnTo>
                    <a:lnTo>
                      <a:pt x="2636" y="1238"/>
                    </a:lnTo>
                    <a:lnTo>
                      <a:pt x="2670" y="1164"/>
                    </a:lnTo>
                    <a:lnTo>
                      <a:pt x="2702" y="1088"/>
                    </a:lnTo>
                    <a:lnTo>
                      <a:pt x="2732" y="1012"/>
                    </a:lnTo>
                    <a:lnTo>
                      <a:pt x="2760" y="936"/>
                    </a:lnTo>
                    <a:lnTo>
                      <a:pt x="2786" y="858"/>
                    </a:lnTo>
                    <a:lnTo>
                      <a:pt x="2808" y="780"/>
                    </a:lnTo>
                    <a:lnTo>
                      <a:pt x="2828" y="702"/>
                    </a:lnTo>
                    <a:lnTo>
                      <a:pt x="2846" y="622"/>
                    </a:lnTo>
                    <a:lnTo>
                      <a:pt x="2860" y="542"/>
                    </a:lnTo>
                    <a:lnTo>
                      <a:pt x="2874" y="462"/>
                    </a:lnTo>
                    <a:lnTo>
                      <a:pt x="2884" y="382"/>
                    </a:lnTo>
                    <a:lnTo>
                      <a:pt x="2890" y="302"/>
                    </a:lnTo>
                    <a:lnTo>
                      <a:pt x="2894" y="222"/>
                    </a:lnTo>
                    <a:lnTo>
                      <a:pt x="2896" y="142"/>
                    </a:lnTo>
                    <a:lnTo>
                      <a:pt x="2896" y="142"/>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Ubuntu" panose="020B0504030602030204" pitchFamily="34" charset="0"/>
                  <a:ea typeface="+mn-ea"/>
                  <a:cs typeface="+mn-cs"/>
                </a:endParaRPr>
              </a:p>
            </p:txBody>
          </p:sp>
          <p:sp>
            <p:nvSpPr>
              <p:cNvPr id="49" name="Freeform 137">
                <a:extLst>
                  <a:ext uri="{FF2B5EF4-FFF2-40B4-BE49-F238E27FC236}">
                    <a16:creationId xmlns:a16="http://schemas.microsoft.com/office/drawing/2014/main" id="{5D52F8BF-FB70-48C3-803D-AC0493DF1B13}"/>
                  </a:ext>
                </a:extLst>
              </p:cNvPr>
              <p:cNvSpPr>
                <a:spLocks/>
              </p:cNvSpPr>
              <p:nvPr/>
            </p:nvSpPr>
            <p:spPr bwMode="auto">
              <a:xfrm>
                <a:off x="17097375" y="2178050"/>
                <a:ext cx="2374900" cy="2667000"/>
              </a:xfrm>
              <a:custGeom>
                <a:avLst/>
                <a:gdLst>
                  <a:gd name="T0" fmla="*/ 0 w 1496"/>
                  <a:gd name="T1" fmla="*/ 1680 h 1680"/>
                  <a:gd name="T2" fmla="*/ 530 w 1496"/>
                  <a:gd name="T3" fmla="*/ 1440 h 1680"/>
                  <a:gd name="T4" fmla="*/ 552 w 1496"/>
                  <a:gd name="T5" fmla="*/ 1440 h 1680"/>
                  <a:gd name="T6" fmla="*/ 598 w 1496"/>
                  <a:gd name="T7" fmla="*/ 1434 h 1680"/>
                  <a:gd name="T8" fmla="*/ 644 w 1496"/>
                  <a:gd name="T9" fmla="*/ 1422 h 1680"/>
                  <a:gd name="T10" fmla="*/ 686 w 1496"/>
                  <a:gd name="T11" fmla="*/ 1404 h 1680"/>
                  <a:gd name="T12" fmla="*/ 726 w 1496"/>
                  <a:gd name="T13" fmla="*/ 1382 h 1680"/>
                  <a:gd name="T14" fmla="*/ 762 w 1496"/>
                  <a:gd name="T15" fmla="*/ 1354 h 1680"/>
                  <a:gd name="T16" fmla="*/ 796 w 1496"/>
                  <a:gd name="T17" fmla="*/ 1322 h 1680"/>
                  <a:gd name="T18" fmla="*/ 824 w 1496"/>
                  <a:gd name="T19" fmla="*/ 1286 h 1680"/>
                  <a:gd name="T20" fmla="*/ 838 w 1496"/>
                  <a:gd name="T21" fmla="*/ 1266 h 1680"/>
                  <a:gd name="T22" fmla="*/ 880 w 1496"/>
                  <a:gd name="T23" fmla="*/ 1192 h 1680"/>
                  <a:gd name="T24" fmla="*/ 942 w 1496"/>
                  <a:gd name="T25" fmla="*/ 1078 h 1680"/>
                  <a:gd name="T26" fmla="*/ 998 w 1496"/>
                  <a:gd name="T27" fmla="*/ 962 h 1680"/>
                  <a:gd name="T28" fmla="*/ 1048 w 1496"/>
                  <a:gd name="T29" fmla="*/ 844 h 1680"/>
                  <a:gd name="T30" fmla="*/ 1094 w 1496"/>
                  <a:gd name="T31" fmla="*/ 726 h 1680"/>
                  <a:gd name="T32" fmla="*/ 1134 w 1496"/>
                  <a:gd name="T33" fmla="*/ 606 h 1680"/>
                  <a:gd name="T34" fmla="*/ 1168 w 1496"/>
                  <a:gd name="T35" fmla="*/ 484 h 1680"/>
                  <a:gd name="T36" fmla="*/ 1198 w 1496"/>
                  <a:gd name="T37" fmla="*/ 364 h 1680"/>
                  <a:gd name="T38" fmla="*/ 1222 w 1496"/>
                  <a:gd name="T39" fmla="*/ 240 h 1680"/>
                  <a:gd name="T40" fmla="*/ 716 w 1496"/>
                  <a:gd name="T41" fmla="*/ 0 h 1680"/>
                  <a:gd name="T42" fmla="*/ 1480 w 1496"/>
                  <a:gd name="T43" fmla="*/ 136 h 1680"/>
                  <a:gd name="T44" fmla="*/ 1470 w 1496"/>
                  <a:gd name="T45" fmla="*/ 212 h 1680"/>
                  <a:gd name="T46" fmla="*/ 1444 w 1496"/>
                  <a:gd name="T47" fmla="*/ 362 h 1680"/>
                  <a:gd name="T48" fmla="*/ 1410 w 1496"/>
                  <a:gd name="T49" fmla="*/ 512 h 1680"/>
                  <a:gd name="T50" fmla="*/ 1368 w 1496"/>
                  <a:gd name="T51" fmla="*/ 662 h 1680"/>
                  <a:gd name="T52" fmla="*/ 1318 w 1496"/>
                  <a:gd name="T53" fmla="*/ 808 h 1680"/>
                  <a:gd name="T54" fmla="*/ 1262 w 1496"/>
                  <a:gd name="T55" fmla="*/ 954 h 1680"/>
                  <a:gd name="T56" fmla="*/ 1200 w 1496"/>
                  <a:gd name="T57" fmla="*/ 1098 h 1680"/>
                  <a:gd name="T58" fmla="*/ 1128 w 1496"/>
                  <a:gd name="T59" fmla="*/ 1238 h 1680"/>
                  <a:gd name="T60" fmla="*/ 1090 w 1496"/>
                  <a:gd name="T61" fmla="*/ 1310 h 1680"/>
                  <a:gd name="T62" fmla="*/ 1044 w 1496"/>
                  <a:gd name="T63" fmla="*/ 1390 h 1680"/>
                  <a:gd name="T64" fmla="*/ 1000 w 1496"/>
                  <a:gd name="T65" fmla="*/ 1454 h 1680"/>
                  <a:gd name="T66" fmla="*/ 948 w 1496"/>
                  <a:gd name="T67" fmla="*/ 1510 h 1680"/>
                  <a:gd name="T68" fmla="*/ 890 w 1496"/>
                  <a:gd name="T69" fmla="*/ 1560 h 1680"/>
                  <a:gd name="T70" fmla="*/ 826 w 1496"/>
                  <a:gd name="T71" fmla="*/ 1602 h 1680"/>
                  <a:gd name="T72" fmla="*/ 756 w 1496"/>
                  <a:gd name="T73" fmla="*/ 1636 h 1680"/>
                  <a:gd name="T74" fmla="*/ 684 w 1496"/>
                  <a:gd name="T75" fmla="*/ 1660 h 1680"/>
                  <a:gd name="T76" fmla="*/ 608 w 1496"/>
                  <a:gd name="T77" fmla="*/ 1676 h 1680"/>
                  <a:gd name="T78" fmla="*/ 530 w 1496"/>
                  <a:gd name="T79" fmla="*/ 1680 h 1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96" h="1680">
                    <a:moveTo>
                      <a:pt x="530" y="1680"/>
                    </a:moveTo>
                    <a:lnTo>
                      <a:pt x="0" y="1680"/>
                    </a:lnTo>
                    <a:lnTo>
                      <a:pt x="0" y="1440"/>
                    </a:lnTo>
                    <a:lnTo>
                      <a:pt x="530" y="1440"/>
                    </a:lnTo>
                    <a:lnTo>
                      <a:pt x="530" y="1440"/>
                    </a:lnTo>
                    <a:lnTo>
                      <a:pt x="552" y="1440"/>
                    </a:lnTo>
                    <a:lnTo>
                      <a:pt x="576" y="1438"/>
                    </a:lnTo>
                    <a:lnTo>
                      <a:pt x="598" y="1434"/>
                    </a:lnTo>
                    <a:lnTo>
                      <a:pt x="622" y="1428"/>
                    </a:lnTo>
                    <a:lnTo>
                      <a:pt x="644" y="1422"/>
                    </a:lnTo>
                    <a:lnTo>
                      <a:pt x="666" y="1414"/>
                    </a:lnTo>
                    <a:lnTo>
                      <a:pt x="686" y="1404"/>
                    </a:lnTo>
                    <a:lnTo>
                      <a:pt x="706" y="1394"/>
                    </a:lnTo>
                    <a:lnTo>
                      <a:pt x="726" y="1382"/>
                    </a:lnTo>
                    <a:lnTo>
                      <a:pt x="744" y="1368"/>
                    </a:lnTo>
                    <a:lnTo>
                      <a:pt x="762" y="1354"/>
                    </a:lnTo>
                    <a:lnTo>
                      <a:pt x="780" y="1340"/>
                    </a:lnTo>
                    <a:lnTo>
                      <a:pt x="796" y="1322"/>
                    </a:lnTo>
                    <a:lnTo>
                      <a:pt x="810" y="1304"/>
                    </a:lnTo>
                    <a:lnTo>
                      <a:pt x="824" y="1286"/>
                    </a:lnTo>
                    <a:lnTo>
                      <a:pt x="838" y="1266"/>
                    </a:lnTo>
                    <a:lnTo>
                      <a:pt x="838" y="1266"/>
                    </a:lnTo>
                    <a:lnTo>
                      <a:pt x="880" y="1192"/>
                    </a:lnTo>
                    <a:lnTo>
                      <a:pt x="880" y="1192"/>
                    </a:lnTo>
                    <a:lnTo>
                      <a:pt x="912" y="1134"/>
                    </a:lnTo>
                    <a:lnTo>
                      <a:pt x="942" y="1078"/>
                    </a:lnTo>
                    <a:lnTo>
                      <a:pt x="970" y="1020"/>
                    </a:lnTo>
                    <a:lnTo>
                      <a:pt x="998" y="962"/>
                    </a:lnTo>
                    <a:lnTo>
                      <a:pt x="1024" y="902"/>
                    </a:lnTo>
                    <a:lnTo>
                      <a:pt x="1048" y="844"/>
                    </a:lnTo>
                    <a:lnTo>
                      <a:pt x="1072" y="784"/>
                    </a:lnTo>
                    <a:lnTo>
                      <a:pt x="1094" y="726"/>
                    </a:lnTo>
                    <a:lnTo>
                      <a:pt x="1114" y="666"/>
                    </a:lnTo>
                    <a:lnTo>
                      <a:pt x="1134" y="606"/>
                    </a:lnTo>
                    <a:lnTo>
                      <a:pt x="1152" y="546"/>
                    </a:lnTo>
                    <a:lnTo>
                      <a:pt x="1168" y="484"/>
                    </a:lnTo>
                    <a:lnTo>
                      <a:pt x="1184" y="424"/>
                    </a:lnTo>
                    <a:lnTo>
                      <a:pt x="1198" y="364"/>
                    </a:lnTo>
                    <a:lnTo>
                      <a:pt x="1210" y="302"/>
                    </a:lnTo>
                    <a:lnTo>
                      <a:pt x="1222" y="240"/>
                    </a:lnTo>
                    <a:lnTo>
                      <a:pt x="716" y="240"/>
                    </a:lnTo>
                    <a:lnTo>
                      <a:pt x="716" y="0"/>
                    </a:lnTo>
                    <a:lnTo>
                      <a:pt x="1496" y="0"/>
                    </a:lnTo>
                    <a:lnTo>
                      <a:pt x="1480" y="136"/>
                    </a:lnTo>
                    <a:lnTo>
                      <a:pt x="1480" y="136"/>
                    </a:lnTo>
                    <a:lnTo>
                      <a:pt x="1470" y="212"/>
                    </a:lnTo>
                    <a:lnTo>
                      <a:pt x="1458" y="288"/>
                    </a:lnTo>
                    <a:lnTo>
                      <a:pt x="1444" y="362"/>
                    </a:lnTo>
                    <a:lnTo>
                      <a:pt x="1428" y="438"/>
                    </a:lnTo>
                    <a:lnTo>
                      <a:pt x="1410" y="512"/>
                    </a:lnTo>
                    <a:lnTo>
                      <a:pt x="1390" y="588"/>
                    </a:lnTo>
                    <a:lnTo>
                      <a:pt x="1368" y="662"/>
                    </a:lnTo>
                    <a:lnTo>
                      <a:pt x="1344" y="734"/>
                    </a:lnTo>
                    <a:lnTo>
                      <a:pt x="1318" y="808"/>
                    </a:lnTo>
                    <a:lnTo>
                      <a:pt x="1292" y="882"/>
                    </a:lnTo>
                    <a:lnTo>
                      <a:pt x="1262" y="954"/>
                    </a:lnTo>
                    <a:lnTo>
                      <a:pt x="1232" y="1026"/>
                    </a:lnTo>
                    <a:lnTo>
                      <a:pt x="1200" y="1098"/>
                    </a:lnTo>
                    <a:lnTo>
                      <a:pt x="1164" y="1168"/>
                    </a:lnTo>
                    <a:lnTo>
                      <a:pt x="1128" y="1238"/>
                    </a:lnTo>
                    <a:lnTo>
                      <a:pt x="1090" y="1310"/>
                    </a:lnTo>
                    <a:lnTo>
                      <a:pt x="1090" y="1310"/>
                    </a:lnTo>
                    <a:lnTo>
                      <a:pt x="1044" y="1390"/>
                    </a:lnTo>
                    <a:lnTo>
                      <a:pt x="1044" y="1390"/>
                    </a:lnTo>
                    <a:lnTo>
                      <a:pt x="1022" y="1422"/>
                    </a:lnTo>
                    <a:lnTo>
                      <a:pt x="1000" y="1454"/>
                    </a:lnTo>
                    <a:lnTo>
                      <a:pt x="974" y="1484"/>
                    </a:lnTo>
                    <a:lnTo>
                      <a:pt x="948" y="1510"/>
                    </a:lnTo>
                    <a:lnTo>
                      <a:pt x="920" y="1536"/>
                    </a:lnTo>
                    <a:lnTo>
                      <a:pt x="890" y="1560"/>
                    </a:lnTo>
                    <a:lnTo>
                      <a:pt x="858" y="1582"/>
                    </a:lnTo>
                    <a:lnTo>
                      <a:pt x="826" y="1602"/>
                    </a:lnTo>
                    <a:lnTo>
                      <a:pt x="792" y="1620"/>
                    </a:lnTo>
                    <a:lnTo>
                      <a:pt x="756" y="1636"/>
                    </a:lnTo>
                    <a:lnTo>
                      <a:pt x="720" y="1650"/>
                    </a:lnTo>
                    <a:lnTo>
                      <a:pt x="684" y="1660"/>
                    </a:lnTo>
                    <a:lnTo>
                      <a:pt x="646" y="1670"/>
                    </a:lnTo>
                    <a:lnTo>
                      <a:pt x="608" y="1676"/>
                    </a:lnTo>
                    <a:lnTo>
                      <a:pt x="568" y="1680"/>
                    </a:lnTo>
                    <a:lnTo>
                      <a:pt x="530" y="1680"/>
                    </a:lnTo>
                    <a:lnTo>
                      <a:pt x="530" y="168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Ubuntu" panose="020B0504030602030204" pitchFamily="34" charset="0"/>
                  <a:ea typeface="+mn-ea"/>
                  <a:cs typeface="+mn-cs"/>
                </a:endParaRPr>
              </a:p>
            </p:txBody>
          </p:sp>
          <p:sp>
            <p:nvSpPr>
              <p:cNvPr id="50" name="Freeform 138">
                <a:extLst>
                  <a:ext uri="{FF2B5EF4-FFF2-40B4-BE49-F238E27FC236}">
                    <a16:creationId xmlns:a16="http://schemas.microsoft.com/office/drawing/2014/main" id="{2043EC1E-419A-45B8-A461-C5E7F2279510}"/>
                  </a:ext>
                </a:extLst>
              </p:cNvPr>
              <p:cNvSpPr>
                <a:spLocks/>
              </p:cNvSpPr>
              <p:nvPr/>
            </p:nvSpPr>
            <p:spPr bwMode="auto">
              <a:xfrm>
                <a:off x="16230600" y="1597025"/>
                <a:ext cx="2298700" cy="4759325"/>
              </a:xfrm>
              <a:custGeom>
                <a:avLst/>
                <a:gdLst>
                  <a:gd name="T0" fmla="*/ 1448 w 1448"/>
                  <a:gd name="T1" fmla="*/ 142 h 2998"/>
                  <a:gd name="T2" fmla="*/ 1448 w 1448"/>
                  <a:gd name="T3" fmla="*/ 142 h 2998"/>
                  <a:gd name="T4" fmla="*/ 1268 w 1448"/>
                  <a:gd name="T5" fmla="*/ 110 h 2998"/>
                  <a:gd name="T6" fmla="*/ 1088 w 1448"/>
                  <a:gd name="T7" fmla="*/ 80 h 2998"/>
                  <a:gd name="T8" fmla="*/ 908 w 1448"/>
                  <a:gd name="T9" fmla="*/ 56 h 2998"/>
                  <a:gd name="T10" fmla="*/ 726 w 1448"/>
                  <a:gd name="T11" fmla="*/ 36 h 2998"/>
                  <a:gd name="T12" fmla="*/ 546 w 1448"/>
                  <a:gd name="T13" fmla="*/ 20 h 2998"/>
                  <a:gd name="T14" fmla="*/ 364 w 1448"/>
                  <a:gd name="T15" fmla="*/ 8 h 2998"/>
                  <a:gd name="T16" fmla="*/ 182 w 1448"/>
                  <a:gd name="T17" fmla="*/ 2 h 2998"/>
                  <a:gd name="T18" fmla="*/ 0 w 1448"/>
                  <a:gd name="T19" fmla="*/ 0 h 2998"/>
                  <a:gd name="T20" fmla="*/ 0 w 1448"/>
                  <a:gd name="T21" fmla="*/ 2998 h 2998"/>
                  <a:gd name="T22" fmla="*/ 240 w 1448"/>
                  <a:gd name="T23" fmla="*/ 2998 h 2998"/>
                  <a:gd name="T24" fmla="*/ 240 w 1448"/>
                  <a:gd name="T25" fmla="*/ 2298 h 2998"/>
                  <a:gd name="T26" fmla="*/ 240 w 1448"/>
                  <a:gd name="T27" fmla="*/ 2298 h 2998"/>
                  <a:gd name="T28" fmla="*/ 306 w 1448"/>
                  <a:gd name="T29" fmla="*/ 2258 h 2998"/>
                  <a:gd name="T30" fmla="*/ 372 w 1448"/>
                  <a:gd name="T31" fmla="*/ 2214 h 2998"/>
                  <a:gd name="T32" fmla="*/ 436 w 1448"/>
                  <a:gd name="T33" fmla="*/ 2168 h 2998"/>
                  <a:gd name="T34" fmla="*/ 498 w 1448"/>
                  <a:gd name="T35" fmla="*/ 2120 h 2998"/>
                  <a:gd name="T36" fmla="*/ 558 w 1448"/>
                  <a:gd name="T37" fmla="*/ 2070 h 2998"/>
                  <a:gd name="T38" fmla="*/ 618 w 1448"/>
                  <a:gd name="T39" fmla="*/ 2016 h 2998"/>
                  <a:gd name="T40" fmla="*/ 674 w 1448"/>
                  <a:gd name="T41" fmla="*/ 1960 h 2998"/>
                  <a:gd name="T42" fmla="*/ 730 w 1448"/>
                  <a:gd name="T43" fmla="*/ 1904 h 2998"/>
                  <a:gd name="T44" fmla="*/ 784 w 1448"/>
                  <a:gd name="T45" fmla="*/ 1844 h 2998"/>
                  <a:gd name="T46" fmla="*/ 838 w 1448"/>
                  <a:gd name="T47" fmla="*/ 1784 h 2998"/>
                  <a:gd name="T48" fmla="*/ 888 w 1448"/>
                  <a:gd name="T49" fmla="*/ 1720 h 2998"/>
                  <a:gd name="T50" fmla="*/ 936 w 1448"/>
                  <a:gd name="T51" fmla="*/ 1656 h 2998"/>
                  <a:gd name="T52" fmla="*/ 984 w 1448"/>
                  <a:gd name="T53" fmla="*/ 1590 h 2998"/>
                  <a:gd name="T54" fmla="*/ 1028 w 1448"/>
                  <a:gd name="T55" fmla="*/ 1522 h 2998"/>
                  <a:gd name="T56" fmla="*/ 1072 w 1448"/>
                  <a:gd name="T57" fmla="*/ 1452 h 2998"/>
                  <a:gd name="T58" fmla="*/ 1112 w 1448"/>
                  <a:gd name="T59" fmla="*/ 1382 h 2998"/>
                  <a:gd name="T60" fmla="*/ 1152 w 1448"/>
                  <a:gd name="T61" fmla="*/ 1310 h 2998"/>
                  <a:gd name="T62" fmla="*/ 1188 w 1448"/>
                  <a:gd name="T63" fmla="*/ 1238 h 2998"/>
                  <a:gd name="T64" fmla="*/ 1222 w 1448"/>
                  <a:gd name="T65" fmla="*/ 1164 h 2998"/>
                  <a:gd name="T66" fmla="*/ 1254 w 1448"/>
                  <a:gd name="T67" fmla="*/ 1088 h 2998"/>
                  <a:gd name="T68" fmla="*/ 1284 w 1448"/>
                  <a:gd name="T69" fmla="*/ 1012 h 2998"/>
                  <a:gd name="T70" fmla="*/ 1312 w 1448"/>
                  <a:gd name="T71" fmla="*/ 936 h 2998"/>
                  <a:gd name="T72" fmla="*/ 1338 w 1448"/>
                  <a:gd name="T73" fmla="*/ 858 h 2998"/>
                  <a:gd name="T74" fmla="*/ 1360 w 1448"/>
                  <a:gd name="T75" fmla="*/ 780 h 2998"/>
                  <a:gd name="T76" fmla="*/ 1380 w 1448"/>
                  <a:gd name="T77" fmla="*/ 702 h 2998"/>
                  <a:gd name="T78" fmla="*/ 1398 w 1448"/>
                  <a:gd name="T79" fmla="*/ 622 h 2998"/>
                  <a:gd name="T80" fmla="*/ 1412 w 1448"/>
                  <a:gd name="T81" fmla="*/ 542 h 2998"/>
                  <a:gd name="T82" fmla="*/ 1426 w 1448"/>
                  <a:gd name="T83" fmla="*/ 462 h 2998"/>
                  <a:gd name="T84" fmla="*/ 1436 w 1448"/>
                  <a:gd name="T85" fmla="*/ 382 h 2998"/>
                  <a:gd name="T86" fmla="*/ 1442 w 1448"/>
                  <a:gd name="T87" fmla="*/ 302 h 2998"/>
                  <a:gd name="T88" fmla="*/ 1446 w 1448"/>
                  <a:gd name="T89" fmla="*/ 222 h 2998"/>
                  <a:gd name="T90" fmla="*/ 1448 w 1448"/>
                  <a:gd name="T91" fmla="*/ 142 h 2998"/>
                  <a:gd name="T92" fmla="*/ 1448 w 1448"/>
                  <a:gd name="T93" fmla="*/ 142 h 29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48" h="2998">
                    <a:moveTo>
                      <a:pt x="1448" y="142"/>
                    </a:moveTo>
                    <a:lnTo>
                      <a:pt x="1448" y="142"/>
                    </a:lnTo>
                    <a:lnTo>
                      <a:pt x="1268" y="110"/>
                    </a:lnTo>
                    <a:lnTo>
                      <a:pt x="1088" y="80"/>
                    </a:lnTo>
                    <a:lnTo>
                      <a:pt x="908" y="56"/>
                    </a:lnTo>
                    <a:lnTo>
                      <a:pt x="726" y="36"/>
                    </a:lnTo>
                    <a:lnTo>
                      <a:pt x="546" y="20"/>
                    </a:lnTo>
                    <a:lnTo>
                      <a:pt x="364" y="8"/>
                    </a:lnTo>
                    <a:lnTo>
                      <a:pt x="182" y="2"/>
                    </a:lnTo>
                    <a:lnTo>
                      <a:pt x="0" y="0"/>
                    </a:lnTo>
                    <a:lnTo>
                      <a:pt x="0" y="2998"/>
                    </a:lnTo>
                    <a:lnTo>
                      <a:pt x="240" y="2998"/>
                    </a:lnTo>
                    <a:lnTo>
                      <a:pt x="240" y="2298"/>
                    </a:lnTo>
                    <a:lnTo>
                      <a:pt x="240" y="2298"/>
                    </a:lnTo>
                    <a:lnTo>
                      <a:pt x="306" y="2258"/>
                    </a:lnTo>
                    <a:lnTo>
                      <a:pt x="372" y="2214"/>
                    </a:lnTo>
                    <a:lnTo>
                      <a:pt x="436" y="2168"/>
                    </a:lnTo>
                    <a:lnTo>
                      <a:pt x="498" y="2120"/>
                    </a:lnTo>
                    <a:lnTo>
                      <a:pt x="558" y="2070"/>
                    </a:lnTo>
                    <a:lnTo>
                      <a:pt x="618" y="2016"/>
                    </a:lnTo>
                    <a:lnTo>
                      <a:pt x="674" y="1960"/>
                    </a:lnTo>
                    <a:lnTo>
                      <a:pt x="730" y="1904"/>
                    </a:lnTo>
                    <a:lnTo>
                      <a:pt x="784" y="1844"/>
                    </a:lnTo>
                    <a:lnTo>
                      <a:pt x="838" y="1784"/>
                    </a:lnTo>
                    <a:lnTo>
                      <a:pt x="888" y="1720"/>
                    </a:lnTo>
                    <a:lnTo>
                      <a:pt x="936" y="1656"/>
                    </a:lnTo>
                    <a:lnTo>
                      <a:pt x="984" y="1590"/>
                    </a:lnTo>
                    <a:lnTo>
                      <a:pt x="1028" y="1522"/>
                    </a:lnTo>
                    <a:lnTo>
                      <a:pt x="1072" y="1452"/>
                    </a:lnTo>
                    <a:lnTo>
                      <a:pt x="1112" y="1382"/>
                    </a:lnTo>
                    <a:lnTo>
                      <a:pt x="1152" y="1310"/>
                    </a:lnTo>
                    <a:lnTo>
                      <a:pt x="1188" y="1238"/>
                    </a:lnTo>
                    <a:lnTo>
                      <a:pt x="1222" y="1164"/>
                    </a:lnTo>
                    <a:lnTo>
                      <a:pt x="1254" y="1088"/>
                    </a:lnTo>
                    <a:lnTo>
                      <a:pt x="1284" y="1012"/>
                    </a:lnTo>
                    <a:lnTo>
                      <a:pt x="1312" y="936"/>
                    </a:lnTo>
                    <a:lnTo>
                      <a:pt x="1338" y="858"/>
                    </a:lnTo>
                    <a:lnTo>
                      <a:pt x="1360" y="780"/>
                    </a:lnTo>
                    <a:lnTo>
                      <a:pt x="1380" y="702"/>
                    </a:lnTo>
                    <a:lnTo>
                      <a:pt x="1398" y="622"/>
                    </a:lnTo>
                    <a:lnTo>
                      <a:pt x="1412" y="542"/>
                    </a:lnTo>
                    <a:lnTo>
                      <a:pt x="1426" y="462"/>
                    </a:lnTo>
                    <a:lnTo>
                      <a:pt x="1436" y="382"/>
                    </a:lnTo>
                    <a:lnTo>
                      <a:pt x="1442" y="302"/>
                    </a:lnTo>
                    <a:lnTo>
                      <a:pt x="1446" y="222"/>
                    </a:lnTo>
                    <a:lnTo>
                      <a:pt x="1448" y="142"/>
                    </a:lnTo>
                    <a:lnTo>
                      <a:pt x="1448" y="142"/>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Ubuntu" panose="020B0504030602030204" pitchFamily="34" charset="0"/>
                  <a:ea typeface="+mn-ea"/>
                  <a:cs typeface="+mn-cs"/>
                </a:endParaRPr>
              </a:p>
            </p:txBody>
          </p:sp>
          <p:sp>
            <p:nvSpPr>
              <p:cNvPr id="51" name="Rectangle 139">
                <a:extLst>
                  <a:ext uri="{FF2B5EF4-FFF2-40B4-BE49-F238E27FC236}">
                    <a16:creationId xmlns:a16="http://schemas.microsoft.com/office/drawing/2014/main" id="{B6380DA5-E69B-441F-94A5-B14BE03A282A}"/>
                  </a:ext>
                </a:extLst>
              </p:cNvPr>
              <p:cNvSpPr>
                <a:spLocks noChangeArrowheads="1"/>
              </p:cNvSpPr>
              <p:nvPr/>
            </p:nvSpPr>
            <p:spPr bwMode="auto">
              <a:xfrm>
                <a:off x="15024100" y="6194425"/>
                <a:ext cx="2413000" cy="177800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Ubuntu" panose="020B0504030602030204" pitchFamily="34" charset="0"/>
                  <a:ea typeface="+mn-ea"/>
                  <a:cs typeface="+mn-cs"/>
                </a:endParaRPr>
              </a:p>
            </p:txBody>
          </p:sp>
          <p:sp>
            <p:nvSpPr>
              <p:cNvPr id="52" name="Rectangle 140">
                <a:extLst>
                  <a:ext uri="{FF2B5EF4-FFF2-40B4-BE49-F238E27FC236}">
                    <a16:creationId xmlns:a16="http://schemas.microsoft.com/office/drawing/2014/main" id="{515E364A-D569-440C-B90E-D97D91D45542}"/>
                  </a:ext>
                </a:extLst>
              </p:cNvPr>
              <p:cNvSpPr>
                <a:spLocks noChangeArrowheads="1"/>
              </p:cNvSpPr>
              <p:nvPr/>
            </p:nvSpPr>
            <p:spPr bwMode="auto">
              <a:xfrm>
                <a:off x="16230600" y="6194425"/>
                <a:ext cx="1206500" cy="177800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Ubuntu" panose="020B0504030602030204" pitchFamily="34" charset="0"/>
                  <a:ea typeface="+mn-ea"/>
                  <a:cs typeface="+mn-cs"/>
                </a:endParaRPr>
              </a:p>
            </p:txBody>
          </p:sp>
          <p:sp>
            <p:nvSpPr>
              <p:cNvPr id="53" name="Rectangle 141">
                <a:extLst>
                  <a:ext uri="{FF2B5EF4-FFF2-40B4-BE49-F238E27FC236}">
                    <a16:creationId xmlns:a16="http://schemas.microsoft.com/office/drawing/2014/main" id="{B0B3D34C-B20C-4A4C-9F83-91B9878180C7}"/>
                  </a:ext>
                </a:extLst>
              </p:cNvPr>
              <p:cNvSpPr>
                <a:spLocks noChangeArrowheads="1"/>
              </p:cNvSpPr>
              <p:nvPr/>
            </p:nvSpPr>
            <p:spPr bwMode="auto">
              <a:xfrm>
                <a:off x="15532100" y="6765925"/>
                <a:ext cx="1397000" cy="38100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Ubuntu" panose="020B0504030602030204" pitchFamily="34" charset="0"/>
                  <a:ea typeface="+mn-ea"/>
                  <a:cs typeface="+mn-cs"/>
                </a:endParaRPr>
              </a:p>
            </p:txBody>
          </p:sp>
          <p:sp>
            <p:nvSpPr>
              <p:cNvPr id="54" name="Rectangle 142">
                <a:extLst>
                  <a:ext uri="{FF2B5EF4-FFF2-40B4-BE49-F238E27FC236}">
                    <a16:creationId xmlns:a16="http://schemas.microsoft.com/office/drawing/2014/main" id="{DEFE78E6-7E2E-46FF-8204-0147B5CFF629}"/>
                  </a:ext>
                </a:extLst>
              </p:cNvPr>
              <p:cNvSpPr>
                <a:spLocks noChangeArrowheads="1"/>
              </p:cNvSpPr>
              <p:nvPr/>
            </p:nvSpPr>
            <p:spPr bwMode="auto">
              <a:xfrm>
                <a:off x="14579600" y="7718425"/>
                <a:ext cx="3302000" cy="38100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Ubuntu" panose="020B0504030602030204" pitchFamily="34" charset="0"/>
                  <a:ea typeface="+mn-ea"/>
                  <a:cs typeface="+mn-cs"/>
                </a:endParaRPr>
              </a:p>
            </p:txBody>
          </p:sp>
          <p:sp>
            <p:nvSpPr>
              <p:cNvPr id="55" name="Rectangle 143">
                <a:extLst>
                  <a:ext uri="{FF2B5EF4-FFF2-40B4-BE49-F238E27FC236}">
                    <a16:creationId xmlns:a16="http://schemas.microsoft.com/office/drawing/2014/main" id="{68BABEFE-0167-4A95-AA82-808483043046}"/>
                  </a:ext>
                </a:extLst>
              </p:cNvPr>
              <p:cNvSpPr>
                <a:spLocks noChangeArrowheads="1"/>
              </p:cNvSpPr>
              <p:nvPr/>
            </p:nvSpPr>
            <p:spPr bwMode="auto">
              <a:xfrm>
                <a:off x="16230600" y="7718425"/>
                <a:ext cx="1651000" cy="38100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Ubuntu" panose="020B0504030602030204" pitchFamily="34" charset="0"/>
                  <a:ea typeface="+mn-ea"/>
                  <a:cs typeface="+mn-cs"/>
                </a:endParaRPr>
              </a:p>
            </p:txBody>
          </p:sp>
          <p:sp>
            <p:nvSpPr>
              <p:cNvPr id="56" name="Rectangle 144">
                <a:extLst>
                  <a:ext uri="{FF2B5EF4-FFF2-40B4-BE49-F238E27FC236}">
                    <a16:creationId xmlns:a16="http://schemas.microsoft.com/office/drawing/2014/main" id="{C7098512-C91A-4AD8-9292-E816A2FC756E}"/>
                  </a:ext>
                </a:extLst>
              </p:cNvPr>
              <p:cNvSpPr>
                <a:spLocks noChangeArrowheads="1"/>
              </p:cNvSpPr>
              <p:nvPr/>
            </p:nvSpPr>
            <p:spPr bwMode="auto">
              <a:xfrm>
                <a:off x="16230600" y="6765925"/>
                <a:ext cx="698500" cy="38100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Ubuntu" panose="020B0504030602030204" pitchFamily="34" charset="0"/>
                  <a:ea typeface="+mn-ea"/>
                  <a:cs typeface="+mn-cs"/>
                </a:endParaRPr>
              </a:p>
            </p:txBody>
          </p:sp>
        </p:grpSp>
      </p:grpSp>
      <p:pic>
        <p:nvPicPr>
          <p:cNvPr id="5" name="Picture 4" descr="Man presenting in meeting">
            <a:extLst>
              <a:ext uri="{FF2B5EF4-FFF2-40B4-BE49-F238E27FC236}">
                <a16:creationId xmlns:a16="http://schemas.microsoft.com/office/drawing/2014/main" id="{A60D1B51-7FC2-F252-73DB-3506B35325F1}"/>
              </a:ext>
            </a:extLst>
          </p:cNvPr>
          <p:cNvPicPr>
            <a:picLocks noChangeAspect="1"/>
          </p:cNvPicPr>
          <p:nvPr/>
        </p:nvPicPr>
        <p:blipFill rotWithShape="1">
          <a:blip r:embed="rId3">
            <a:extLst>
              <a:ext uri="{28A0092B-C50C-407E-A947-70E740481C1C}">
                <a14:useLocalDpi xmlns:a14="http://schemas.microsoft.com/office/drawing/2010/main" val="0"/>
              </a:ext>
            </a:extLst>
          </a:blip>
          <a:srcRect l="15523" t="330" r="23902" b="-330"/>
          <a:stretch/>
        </p:blipFill>
        <p:spPr>
          <a:xfrm>
            <a:off x="6685280" y="0"/>
            <a:ext cx="5506720" cy="6858000"/>
          </a:xfrm>
          <a:prstGeom prst="rect">
            <a:avLst/>
          </a:prstGeom>
        </p:spPr>
      </p:pic>
      <p:sp>
        <p:nvSpPr>
          <p:cNvPr id="15" name="Rectangle 14"/>
          <p:cNvSpPr/>
          <p:nvPr/>
        </p:nvSpPr>
        <p:spPr>
          <a:xfrm>
            <a:off x="174919" y="196884"/>
            <a:ext cx="6815547"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a:ln>
                  <a:noFill/>
                </a:ln>
                <a:solidFill>
                  <a:prstClr val="black"/>
                </a:solidFill>
                <a:effectLst/>
                <a:uLnTx/>
                <a:uFillTx/>
                <a:latin typeface="Ubuntu" panose="020B0504030602030204" pitchFamily="34" charset="0"/>
                <a:ea typeface="+mn-ea"/>
                <a:cs typeface="+mn-cs"/>
              </a:rPr>
              <a:t>LIFE AND GROUP CLAIMS TRANSFORM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a:ln>
                  <a:noFill/>
                </a:ln>
                <a:solidFill>
                  <a:prstClr val="black"/>
                </a:solidFill>
                <a:effectLst/>
                <a:uLnTx/>
                <a:uFillTx/>
                <a:latin typeface="Ubuntu" panose="020B0504030602030204" pitchFamily="34" charset="0"/>
                <a:ea typeface="+mn-ea"/>
                <a:cs typeface="+mn-cs"/>
              </a:rPr>
              <a:t>FOR A LEADING GLOBAL INSURER IN AUSTRALIA MARKET</a:t>
            </a:r>
          </a:p>
        </p:txBody>
      </p:sp>
    </p:spTree>
    <p:extLst>
      <p:ext uri="{BB962C8B-B14F-4D97-AF65-F5344CB8AC3E}">
        <p14:creationId xmlns:p14="http://schemas.microsoft.com/office/powerpoint/2010/main" val="15329255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Capgemini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reen A">
      <a:srgbClr val="57CF80"/>
    </a:custClr>
    <a:custClr name="Green B">
      <a:srgbClr val="33B569"/>
    </a:custClr>
    <a:custClr name="Green C">
      <a:srgbClr val="2EA657"/>
    </a:custClr>
    <a:custClr name="Green D">
      <a:srgbClr val="178C3D"/>
    </a:custClr>
    <a:custClr name="Green E">
      <a:srgbClr val="176036"/>
    </a:custClr>
    <a:custClr name="Teal A">
      <a:srgbClr val="00E6E3"/>
    </a:custClr>
    <a:custClr name="Teal B">
      <a:srgbClr val="00D5D0"/>
    </a:custClr>
    <a:custClr name="Teal C">
      <a:srgbClr val="00BFBF"/>
    </a:custClr>
    <a:custClr name="Teal D">
      <a:srgbClr val="00929B"/>
    </a:custClr>
    <a:custClr name="Teal E">
      <a:srgbClr val="007D74"/>
    </a:custClr>
    <a:custClr name="Peacock A">
      <a:srgbClr val="00E0CB"/>
    </a:custClr>
    <a:custClr name="Peacock B">
      <a:srgbClr val="00B2A2"/>
    </a:custClr>
    <a:custClr name="Peacock C">
      <a:srgbClr val="0F878A"/>
    </a:custClr>
    <a:custClr name="Peacock D">
      <a:srgbClr val="0F6A73"/>
    </a:custClr>
    <a:custClr name="Peacock E">
      <a:srgbClr val="0F434A"/>
    </a:custClr>
    <a:custClr name="Sapphire A">
      <a:srgbClr val="338091"/>
    </a:custClr>
    <a:custClr name="Sapphire B">
      <a:srgbClr val="336B7D"/>
    </a:custClr>
    <a:custClr name="Sapphire C">
      <a:srgbClr val="14596B"/>
    </a:custClr>
    <a:custClr name="Sapphire D">
      <a:srgbClr val="214554"/>
    </a:custClr>
    <a:custClr name="Sapphire E">
      <a:srgbClr val="173340"/>
    </a:custClr>
    <a:custClr name="Violet A">
      <a:srgbClr val="E557AD"/>
    </a:custClr>
    <a:custClr name="Violet B">
      <a:srgbClr val="D13A8C"/>
    </a:custClr>
    <a:custClr name="Violet C">
      <a:srgbClr val="BA2980"/>
    </a:custClr>
    <a:custClr name="Violet D">
      <a:srgbClr val="A12980"/>
    </a:custClr>
    <a:custClr name="Violet E">
      <a:srgbClr val="811B6F"/>
    </a:custClr>
    <a:custClr name="Yellow A">
      <a:srgbClr val="FFDA80"/>
    </a:custClr>
    <a:custClr name="Yellow B">
      <a:srgbClr val="FFD068"/>
    </a:custClr>
    <a:custClr name="Yellow C">
      <a:srgbClr val="FFB24A"/>
    </a:custClr>
    <a:custClr name="Yellow D">
      <a:srgbClr val="FF9C29"/>
    </a:custClr>
    <a:custClr name="Yellow E">
      <a:srgbClr val="FF8E12"/>
    </a:custClr>
    <a:custClr name="Velvet A">
      <a:srgbClr val="9E4780"/>
    </a:custClr>
    <a:custClr name="Velvet B">
      <a:srgbClr val="802B73"/>
    </a:custClr>
    <a:custClr name="Velvet C">
      <a:srgbClr val="750D5C"/>
    </a:custClr>
    <a:custClr name="Velvet D">
      <a:srgbClr val="590A42"/>
    </a:custClr>
    <a:custClr name="Velvet E">
      <a:srgbClr val="42142E"/>
    </a:custClr>
    <a:custClr name="Red A">
      <a:srgbClr val="FF5770"/>
    </a:custClr>
    <a:custClr name="Red B">
      <a:srgbClr val="FF455E"/>
    </a:custClr>
    <a:custClr name="Red C">
      <a:srgbClr val="FF304D"/>
    </a:custClr>
    <a:custClr name="Red D">
      <a:srgbClr val="E30021"/>
    </a:custClr>
    <a:custClr name="Red E">
      <a:srgbClr val="A6001A"/>
    </a:custClr>
  </a:custClrLst>
  <a:extLst>
    <a:ext uri="{05A4C25C-085E-4340-85A3-A5531E510DB2}">
      <thm15:themeFamily xmlns:thm15="http://schemas.microsoft.com/office/thememl/2012/main" name="SMNYL Template 2" id="{339E9FAC-8002-CA4B-AD14-824F5A7EE249}" vid="{0B59A4CE-C841-B442-B71E-92E0B654AF17}"/>
    </a:ext>
  </a:extLst>
</a:theme>
</file>

<file path=ppt/theme/theme2.xml><?xml version="1.0" encoding="utf-8"?>
<a:theme xmlns:a="http://schemas.openxmlformats.org/drawingml/2006/main" name="7_Capgemini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reen A">
      <a:srgbClr val="57CF80"/>
    </a:custClr>
    <a:custClr name="Green B">
      <a:srgbClr val="33B569"/>
    </a:custClr>
    <a:custClr name="Green C">
      <a:srgbClr val="2EA657"/>
    </a:custClr>
    <a:custClr name="Green D">
      <a:srgbClr val="178C3D"/>
    </a:custClr>
    <a:custClr name="Green E">
      <a:srgbClr val="176036"/>
    </a:custClr>
    <a:custClr name="Teal A">
      <a:srgbClr val="00E6E3"/>
    </a:custClr>
    <a:custClr name="Teal B">
      <a:srgbClr val="00D5D0"/>
    </a:custClr>
    <a:custClr name="Teal C">
      <a:srgbClr val="00BFBF"/>
    </a:custClr>
    <a:custClr name="Teal D">
      <a:srgbClr val="00929B"/>
    </a:custClr>
    <a:custClr name="Teal E">
      <a:srgbClr val="007D74"/>
    </a:custClr>
    <a:custClr name="Peacock A">
      <a:srgbClr val="00E0CB"/>
    </a:custClr>
    <a:custClr name="Peacock B">
      <a:srgbClr val="00B2A2"/>
    </a:custClr>
    <a:custClr name="Peacock C">
      <a:srgbClr val="0F878A"/>
    </a:custClr>
    <a:custClr name="Peacock D">
      <a:srgbClr val="0F6A73"/>
    </a:custClr>
    <a:custClr name="Peacock E">
      <a:srgbClr val="0F434A"/>
    </a:custClr>
    <a:custClr name="Sapphire A">
      <a:srgbClr val="338091"/>
    </a:custClr>
    <a:custClr name="Sapphire B">
      <a:srgbClr val="336B7D"/>
    </a:custClr>
    <a:custClr name="Sapphire C">
      <a:srgbClr val="14596B"/>
    </a:custClr>
    <a:custClr name="Sapphire D">
      <a:srgbClr val="214554"/>
    </a:custClr>
    <a:custClr name="Sapphire E">
      <a:srgbClr val="173340"/>
    </a:custClr>
    <a:custClr name="Violet A">
      <a:srgbClr val="E557AD"/>
    </a:custClr>
    <a:custClr name="Violet B">
      <a:srgbClr val="D13A8C"/>
    </a:custClr>
    <a:custClr name="Violet C">
      <a:srgbClr val="BA2980"/>
    </a:custClr>
    <a:custClr name="Violet D">
      <a:srgbClr val="A12980"/>
    </a:custClr>
    <a:custClr name="Violet E">
      <a:srgbClr val="811B6F"/>
    </a:custClr>
    <a:custClr name="Yellow A">
      <a:srgbClr val="FFDA80"/>
    </a:custClr>
    <a:custClr name="Yellow B">
      <a:srgbClr val="FFD068"/>
    </a:custClr>
    <a:custClr name="Yellow C">
      <a:srgbClr val="FFB24A"/>
    </a:custClr>
    <a:custClr name="Yellow D">
      <a:srgbClr val="FF9C29"/>
    </a:custClr>
    <a:custClr name="Yellow E">
      <a:srgbClr val="FF8E12"/>
    </a:custClr>
    <a:custClr name="Velvet A">
      <a:srgbClr val="9E4780"/>
    </a:custClr>
    <a:custClr name="Velvet B">
      <a:srgbClr val="802B73"/>
    </a:custClr>
    <a:custClr name="Velvet C">
      <a:srgbClr val="750D5C"/>
    </a:custClr>
    <a:custClr name="Velvet D">
      <a:srgbClr val="590A42"/>
    </a:custClr>
    <a:custClr name="Velvet E">
      <a:srgbClr val="42142E"/>
    </a:custClr>
    <a:custClr name="Red A">
      <a:srgbClr val="FF5770"/>
    </a:custClr>
    <a:custClr name="Red B">
      <a:srgbClr val="FF455E"/>
    </a:custClr>
    <a:custClr name="Red C">
      <a:srgbClr val="FF304D"/>
    </a:custClr>
    <a:custClr name="Red D">
      <a:srgbClr val="E30021"/>
    </a:custClr>
    <a:custClr name="Red E">
      <a:srgbClr val="A6001A"/>
    </a:custClr>
  </a:custClrLst>
  <a:extLst>
    <a:ext uri="{05A4C25C-085E-4340-85A3-A5531E510DB2}">
      <thm15:themeFamily xmlns:thm15="http://schemas.microsoft.com/office/thememl/2012/main" name="ppt-Capgemini_Standard-Template_2023-v1.potx" id="{FD494643-5CA5-4A4E-8B38-63F4B370A0E2}" vid="{DF26224A-05B9-471C-96D9-61DD4C0AE63C}"/>
    </a:ext>
  </a:extLst>
</a:theme>
</file>

<file path=ppt/theme/theme3.xml><?xml version="1.0" encoding="utf-8"?>
<a:theme xmlns:a="http://schemas.openxmlformats.org/drawingml/2006/main" name="8_Capgemini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reen A">
      <a:srgbClr val="57CF80"/>
    </a:custClr>
    <a:custClr name="Green B">
      <a:srgbClr val="33B569"/>
    </a:custClr>
    <a:custClr name="Green C">
      <a:srgbClr val="2EA657"/>
    </a:custClr>
    <a:custClr name="Green D">
      <a:srgbClr val="178C3D"/>
    </a:custClr>
    <a:custClr name="Green E">
      <a:srgbClr val="176036"/>
    </a:custClr>
    <a:custClr name="Teal A">
      <a:srgbClr val="00E6E3"/>
    </a:custClr>
    <a:custClr name="Teal B">
      <a:srgbClr val="00D5D0"/>
    </a:custClr>
    <a:custClr name="Teal C">
      <a:srgbClr val="00BFBF"/>
    </a:custClr>
    <a:custClr name="Teal D">
      <a:srgbClr val="00929B"/>
    </a:custClr>
    <a:custClr name="Teal E">
      <a:srgbClr val="007D74"/>
    </a:custClr>
    <a:custClr name="Peacock A">
      <a:srgbClr val="00E0CB"/>
    </a:custClr>
    <a:custClr name="Peacock B">
      <a:srgbClr val="00B2A2"/>
    </a:custClr>
    <a:custClr name="Peacock C">
      <a:srgbClr val="0F878A"/>
    </a:custClr>
    <a:custClr name="Peacock D">
      <a:srgbClr val="0F6A73"/>
    </a:custClr>
    <a:custClr name="Peacock E">
      <a:srgbClr val="0F434A"/>
    </a:custClr>
    <a:custClr name="Sapphire A">
      <a:srgbClr val="338091"/>
    </a:custClr>
    <a:custClr name="Sapphire B">
      <a:srgbClr val="336B7D"/>
    </a:custClr>
    <a:custClr name="Sapphire C">
      <a:srgbClr val="14596B"/>
    </a:custClr>
    <a:custClr name="Sapphire D">
      <a:srgbClr val="214554"/>
    </a:custClr>
    <a:custClr name="Sapphire E">
      <a:srgbClr val="173340"/>
    </a:custClr>
    <a:custClr name="Violet A">
      <a:srgbClr val="E557AD"/>
    </a:custClr>
    <a:custClr name="Violet B">
      <a:srgbClr val="D13A8C"/>
    </a:custClr>
    <a:custClr name="Violet C">
      <a:srgbClr val="BA2980"/>
    </a:custClr>
    <a:custClr name="Violet D">
      <a:srgbClr val="A12980"/>
    </a:custClr>
    <a:custClr name="Violet E">
      <a:srgbClr val="811B6F"/>
    </a:custClr>
    <a:custClr name="Yellow A">
      <a:srgbClr val="FFDA80"/>
    </a:custClr>
    <a:custClr name="Yellow B">
      <a:srgbClr val="FFD068"/>
    </a:custClr>
    <a:custClr name="Yellow C">
      <a:srgbClr val="FFB24A"/>
    </a:custClr>
    <a:custClr name="Yellow D">
      <a:srgbClr val="FF9C29"/>
    </a:custClr>
    <a:custClr name="Yellow E">
      <a:srgbClr val="FF8E12"/>
    </a:custClr>
    <a:custClr name="Velvet A">
      <a:srgbClr val="9E4780"/>
    </a:custClr>
    <a:custClr name="Velvet B">
      <a:srgbClr val="802B73"/>
    </a:custClr>
    <a:custClr name="Velvet C">
      <a:srgbClr val="750D5C"/>
    </a:custClr>
    <a:custClr name="Velvet D">
      <a:srgbClr val="590A42"/>
    </a:custClr>
    <a:custClr name="Velvet E">
      <a:srgbClr val="42142E"/>
    </a:custClr>
    <a:custClr name="Red A">
      <a:srgbClr val="FF5770"/>
    </a:custClr>
    <a:custClr name="Red B">
      <a:srgbClr val="FF455E"/>
    </a:custClr>
    <a:custClr name="Red C">
      <a:srgbClr val="FF304D"/>
    </a:custClr>
    <a:custClr name="Red D">
      <a:srgbClr val="E30021"/>
    </a:custClr>
    <a:custClr name="Red E">
      <a:srgbClr val="A6001A"/>
    </a:custClr>
  </a:custClrLst>
  <a:extLst>
    <a:ext uri="{05A4C25C-085E-4340-85A3-A5531E510DB2}">
      <thm15:themeFamily xmlns:thm15="http://schemas.microsoft.com/office/thememl/2012/main" name="ppt-Capgemini_Standard-Template_2022.pptx" id="{4E267CF8-9105-4C04-8A4B-7AEE8CF5A090}" vid="{CF555E12-DAD9-47F9-A47B-5AD9CFEEC164}"/>
    </a:ext>
  </a:extLst>
</a:theme>
</file>

<file path=ppt/theme/theme4.xml><?xml version="1.0" encoding="utf-8"?>
<a:theme xmlns:a="http://schemas.openxmlformats.org/drawingml/2006/main" name="5_Capgemini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reen A">
      <a:srgbClr val="57CF80"/>
    </a:custClr>
    <a:custClr name="Green B">
      <a:srgbClr val="33B569"/>
    </a:custClr>
    <a:custClr name="Green C">
      <a:srgbClr val="2EA657"/>
    </a:custClr>
    <a:custClr name="Green D">
      <a:srgbClr val="178C3D"/>
    </a:custClr>
    <a:custClr name="Green E">
      <a:srgbClr val="176036"/>
    </a:custClr>
    <a:custClr name="Teal A">
      <a:srgbClr val="00E6E3"/>
    </a:custClr>
    <a:custClr name="Teal B">
      <a:srgbClr val="00D5D0"/>
    </a:custClr>
    <a:custClr name="Teal C">
      <a:srgbClr val="00BFBF"/>
    </a:custClr>
    <a:custClr name="Teal D">
      <a:srgbClr val="00929B"/>
    </a:custClr>
    <a:custClr name="Teal E">
      <a:srgbClr val="007D74"/>
    </a:custClr>
    <a:custClr name="Peacock A">
      <a:srgbClr val="00E0CB"/>
    </a:custClr>
    <a:custClr name="Peacock B">
      <a:srgbClr val="00B2A2"/>
    </a:custClr>
    <a:custClr name="Peacock C">
      <a:srgbClr val="0F878A"/>
    </a:custClr>
    <a:custClr name="Peacock D">
      <a:srgbClr val="0F6A73"/>
    </a:custClr>
    <a:custClr name="Peacock E">
      <a:srgbClr val="0F434A"/>
    </a:custClr>
    <a:custClr name="Sapphire A">
      <a:srgbClr val="338091"/>
    </a:custClr>
    <a:custClr name="Sapphire B">
      <a:srgbClr val="336B7D"/>
    </a:custClr>
    <a:custClr name="Sapphire C">
      <a:srgbClr val="14596B"/>
    </a:custClr>
    <a:custClr name="Sapphire D">
      <a:srgbClr val="214554"/>
    </a:custClr>
    <a:custClr name="Sapphire E">
      <a:srgbClr val="173340"/>
    </a:custClr>
    <a:custClr name="Violet A">
      <a:srgbClr val="E557AD"/>
    </a:custClr>
    <a:custClr name="Violet B">
      <a:srgbClr val="D13A8C"/>
    </a:custClr>
    <a:custClr name="Violet C">
      <a:srgbClr val="BA2980"/>
    </a:custClr>
    <a:custClr name="Violet D">
      <a:srgbClr val="A12980"/>
    </a:custClr>
    <a:custClr name="Violet E">
      <a:srgbClr val="811B6F"/>
    </a:custClr>
    <a:custClr name="Yellow A">
      <a:srgbClr val="FFDA80"/>
    </a:custClr>
    <a:custClr name="Yellow B">
      <a:srgbClr val="FFD068"/>
    </a:custClr>
    <a:custClr name="Yellow C">
      <a:srgbClr val="FFB24A"/>
    </a:custClr>
    <a:custClr name="Yellow D">
      <a:srgbClr val="FF9C29"/>
    </a:custClr>
    <a:custClr name="Yellow E">
      <a:srgbClr val="FF8E12"/>
    </a:custClr>
    <a:custClr name="Velvet A">
      <a:srgbClr val="9E4780"/>
    </a:custClr>
    <a:custClr name="Velvet B">
      <a:srgbClr val="802B73"/>
    </a:custClr>
    <a:custClr name="Velvet C">
      <a:srgbClr val="750D5C"/>
    </a:custClr>
    <a:custClr name="Velvet D">
      <a:srgbClr val="590A42"/>
    </a:custClr>
    <a:custClr name="Velvet E">
      <a:srgbClr val="42142E"/>
    </a:custClr>
    <a:custClr name="Red A">
      <a:srgbClr val="FF5770"/>
    </a:custClr>
    <a:custClr name="Red B">
      <a:srgbClr val="FF455E"/>
    </a:custClr>
    <a:custClr name="Red C">
      <a:srgbClr val="FF304D"/>
    </a:custClr>
    <a:custClr name="Red D">
      <a:srgbClr val="E30021"/>
    </a:custClr>
    <a:custClr name="Red E">
      <a:srgbClr val="A6001A"/>
    </a:custClr>
  </a:custClrLst>
  <a:extLst>
    <a:ext uri="{05A4C25C-085E-4340-85A3-A5531E510DB2}">
      <thm15:themeFamily xmlns:thm15="http://schemas.microsoft.com/office/thememl/2012/main" name="ppt-Capgemini_MasterTemplateCustomcolors.potx" id="{825B9D35-2592-4CA9-BA23-58B006335B2A}" vid="{B094C477-C962-4A54-95AE-F74EAD58A671}"/>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6520E06F8A5DC4CB7747A1C84FD0400" ma:contentTypeVersion="11" ma:contentTypeDescription="Create a new document." ma:contentTypeScope="" ma:versionID="349bc971f42beee62a2401ce6f55f3d9">
  <xsd:schema xmlns:xsd="http://www.w3.org/2001/XMLSchema" xmlns:xs="http://www.w3.org/2001/XMLSchema" xmlns:p="http://schemas.microsoft.com/office/2006/metadata/properties" xmlns:ns2="31b8e1f7-a55b-4975-8f34-396b67124d4a" xmlns:ns3="7da21f61-9a5e-473a-a64a-383f554a7b03" targetNamespace="http://schemas.microsoft.com/office/2006/metadata/properties" ma:root="true" ma:fieldsID="581b58cfd5e208b6a47073c54a508a49" ns2:_="" ns3:_="">
    <xsd:import namespace="31b8e1f7-a55b-4975-8f34-396b67124d4a"/>
    <xsd:import namespace="7da21f61-9a5e-473a-a64a-383f554a7b03"/>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LengthInSeconds" minOccurs="0"/>
                <xsd:element ref="ns2:lcf76f155ced4ddcb4097134ff3c332f" minOccurs="0"/>
                <xsd:element ref="ns3:TaxCatchAll" minOccurs="0"/>
                <xsd:element ref="ns2:MediaServiceGenerationTime" minOccurs="0"/>
                <xsd:element ref="ns2:MediaServiceEventHashCode"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1b8e1f7-a55b-4975-8f34-396b67124d4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b3623ea3-be23-4189-a25b-bcadb097ef14" ma:termSetId="09814cd3-568e-fe90-9814-8d621ff8fb84" ma:anchorId="fba54fb3-c3e1-fe81-a776-ca4b69148c4d" ma:open="true" ma:isKeyword="false">
      <xsd:complexType>
        <xsd:sequence>
          <xsd:element ref="pc:Terms" minOccurs="0" maxOccurs="1"/>
        </xsd:sequence>
      </xsd:complex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da21f61-9a5e-473a-a64a-383f554a7b03"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658975b6-035f-4b49-95e5-7e1c38440dc8}" ma:internalName="TaxCatchAll" ma:showField="CatchAllData" ma:web="7da21f61-9a5e-473a-a64a-383f554a7b03">
      <xsd:complexType>
        <xsd:complexContent>
          <xsd:extension base="dms:MultiChoiceLookup">
            <xsd:sequence>
              <xsd:element name="Value" type="dms:Lookup" maxOccurs="unbounded" minOccurs="0" nillable="true"/>
            </xsd:sequence>
          </xsd:extension>
        </xsd:complexContent>
      </xsd:complexType>
    </xsd:element>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31b8e1f7-a55b-4975-8f34-396b67124d4a">
      <Terms xmlns="http://schemas.microsoft.com/office/infopath/2007/PartnerControls"/>
    </lcf76f155ced4ddcb4097134ff3c332f>
    <TaxCatchAll xmlns="7da21f61-9a5e-473a-a64a-383f554a7b03" xsi:nil="true"/>
  </documentManagement>
</p:properties>
</file>

<file path=customXml/itemProps1.xml><?xml version="1.0" encoding="utf-8"?>
<ds:datastoreItem xmlns:ds="http://schemas.openxmlformats.org/officeDocument/2006/customXml" ds:itemID="{C772CD76-5FD2-4CE3-8851-FEC0971EC5EF}">
  <ds:schemaRefs>
    <ds:schemaRef ds:uri="http://schemas.microsoft.com/sharepoint/v3/contenttype/forms"/>
  </ds:schemaRefs>
</ds:datastoreItem>
</file>

<file path=customXml/itemProps2.xml><?xml version="1.0" encoding="utf-8"?>
<ds:datastoreItem xmlns:ds="http://schemas.openxmlformats.org/officeDocument/2006/customXml" ds:itemID="{C559CAAD-9E06-474C-AB93-BF9D3B289BE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1b8e1f7-a55b-4975-8f34-396b67124d4a"/>
    <ds:schemaRef ds:uri="7da21f61-9a5e-473a-a64a-383f554a7b0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A743A129-6804-44F0-A1E7-9A16C16CAC8D}">
  <ds:schemaRefs>
    <ds:schemaRef ds:uri="http://schemas.openxmlformats.org/package/2006/metadata/core-properties"/>
    <ds:schemaRef ds:uri="7da21f61-9a5e-473a-a64a-383f554a7b03"/>
    <ds:schemaRef ds:uri="http://purl.org/dc/terms/"/>
    <ds:schemaRef ds:uri="31b8e1f7-a55b-4975-8f34-396b67124d4a"/>
    <ds:schemaRef ds:uri="http://schemas.microsoft.com/office/infopath/2007/PartnerControls"/>
    <ds:schemaRef ds:uri="http://schemas.microsoft.com/office/2006/documentManagement/types"/>
    <ds:schemaRef ds:uri="http://www.w3.org/XML/1998/namespace"/>
    <ds:schemaRef ds:uri="http://schemas.microsoft.com/office/2006/metadata/properties"/>
    <ds:schemaRef ds:uri="http://purl.org/dc/dcmitype/"/>
    <ds:schemaRef ds:uri="http://purl.org/dc/elements/1.1/"/>
  </ds:schemaRefs>
</ds:datastoreItem>
</file>

<file path=docProps/app.xml><?xml version="1.0" encoding="utf-8"?>
<Properties xmlns="http://schemas.openxmlformats.org/officeDocument/2006/extended-properties" xmlns:vt="http://schemas.openxmlformats.org/officeDocument/2006/docPropsVTypes">
  <TotalTime>5</TotalTime>
  <Words>1728</Words>
  <Application>Microsoft Office PowerPoint</Application>
  <PresentationFormat>Widescreen</PresentationFormat>
  <Paragraphs>205</Paragraphs>
  <Slides>13</Slides>
  <Notes>7</Notes>
  <HiddenSlides>0</HiddenSlides>
  <MMClips>0</MMClips>
  <ScaleCrop>false</ScaleCrop>
  <HeadingPairs>
    <vt:vector size="8" baseType="variant">
      <vt:variant>
        <vt:lpstr>Fonts Used</vt:lpstr>
      </vt:variant>
      <vt:variant>
        <vt:i4>8</vt:i4>
      </vt:variant>
      <vt:variant>
        <vt:lpstr>Theme</vt:lpstr>
      </vt:variant>
      <vt:variant>
        <vt:i4>4</vt:i4>
      </vt:variant>
      <vt:variant>
        <vt:lpstr>Embedded OLE Servers</vt:lpstr>
      </vt:variant>
      <vt:variant>
        <vt:i4>1</vt:i4>
      </vt:variant>
      <vt:variant>
        <vt:lpstr>Slide Titles</vt:lpstr>
      </vt:variant>
      <vt:variant>
        <vt:i4>13</vt:i4>
      </vt:variant>
    </vt:vector>
  </HeadingPairs>
  <TitlesOfParts>
    <vt:vector size="26" baseType="lpstr">
      <vt:lpstr>Arial</vt:lpstr>
      <vt:lpstr>Calibri</vt:lpstr>
      <vt:lpstr>Candara</vt:lpstr>
      <vt:lpstr>Ubuntu</vt:lpstr>
      <vt:lpstr>Ubuntu Light</vt:lpstr>
      <vt:lpstr>Ubuntu Medium</vt:lpstr>
      <vt:lpstr>Verdana</vt:lpstr>
      <vt:lpstr>Wingdings</vt:lpstr>
      <vt:lpstr>1_Capgemini2021</vt:lpstr>
      <vt:lpstr>7_Capgemini2021</vt:lpstr>
      <vt:lpstr>8_Capgemini2021</vt:lpstr>
      <vt:lpstr>5_Capgemini2021</vt:lpstr>
      <vt:lpstr>think-cell Slide</vt:lpstr>
      <vt:lpstr>THE FUTURE  OF SMNYL  IS TODAY </vt:lpstr>
      <vt:lpstr>NYL USA Engagement &amp; L &amp; A  CaPAbilities</vt:lpstr>
      <vt:lpstr>New York Life – Our Relationship</vt:lpstr>
      <vt:lpstr>New York Life – OUR Current SCOPE @ US</vt:lpstr>
      <vt:lpstr>Capgemini insurance at a glance</vt:lpstr>
      <vt:lpstr>L&amp;A SUCCESS STORIES</vt:lpstr>
      <vt:lpstr>KEY L&amp;A Success CREDENTIALS with global clients</vt:lpstr>
      <vt:lpstr>NEW PRODUCT ROLLOUT across LAH portfolio  </vt:lpstr>
      <vt:lpstr>PowerPoint Presentation</vt:lpstr>
      <vt:lpstr>PowerPoint Presentation</vt:lpstr>
      <vt:lpstr>PowerPoint Presentation</vt:lpstr>
      <vt:lpstr>GET THE   FUTURE  YOU WANT</vt:lpstr>
      <vt:lpstr>About Capgemini</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FUTURE  OF SMNYL  IS TODAY </dc:title>
  <dc:creator>GARCIA, JULIETA ADRIANA</dc:creator>
  <cp:lastModifiedBy>GARCIA, JULIETA ADRIANA</cp:lastModifiedBy>
  <cp:revision>1</cp:revision>
  <dcterms:created xsi:type="dcterms:W3CDTF">2023-06-30T15:14:10Z</dcterms:created>
  <dcterms:modified xsi:type="dcterms:W3CDTF">2023-06-30T18:22: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6520E06F8A5DC4CB7747A1C84FD0400</vt:lpwstr>
  </property>
  <property fmtid="{D5CDD505-2E9C-101B-9397-08002B2CF9AE}" pid="3" name="MediaServiceImageTags">
    <vt:lpwstr/>
  </property>
</Properties>
</file>